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7.jpg" ContentType="image/unknown"/>
  <Override PartName="/ppt/media/image8.bin" ContentType="image/unknown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</p:sldMasterIdLst>
  <p:notesMasterIdLst>
    <p:notesMasterId r:id="rId12"/>
  </p:notesMasterIdLst>
  <p:sldIdLst>
    <p:sldId id="282" r:id="rId3"/>
    <p:sldId id="280" r:id="rId4"/>
    <p:sldId id="281" r:id="rId5"/>
    <p:sldId id="275" r:id="rId6"/>
    <p:sldId id="277" r:id="rId7"/>
    <p:sldId id="276" r:id="rId8"/>
    <p:sldId id="278" r:id="rId9"/>
    <p:sldId id="268" r:id="rId10"/>
    <p:sldId id="283" r:id="rId1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7FE0D93-DDB1-47D1-BB0C-A5BD85D229D7}">
          <p14:sldIdLst>
            <p14:sldId id="282"/>
            <p14:sldId id="280"/>
            <p14:sldId id="281"/>
            <p14:sldId id="275"/>
            <p14:sldId id="277"/>
            <p14:sldId id="276"/>
            <p14:sldId id="278"/>
            <p14:sldId id="268"/>
            <p14:sldId id="283"/>
          </p14:sldIdLst>
        </p14:section>
        <p14:section name="Untitled Section" id="{D4B509FE-AB59-4F0C-ADE3-8928AA49BD9F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7" autoAdjust="0"/>
    <p:restoredTop sz="94660"/>
  </p:normalViewPr>
  <p:slideViewPr>
    <p:cSldViewPr snapToGrid="0">
      <p:cViewPr varScale="1">
        <p:scale>
          <a:sx n="81" d="100"/>
          <a:sy n="81" d="100"/>
        </p:scale>
        <p:origin x="61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bin"/><Relationship Id="rId2" Type="http://schemas.openxmlformats.org/officeDocument/2006/relationships/image" Target="../media/image7.jpg"/><Relationship Id="rId1" Type="http://schemas.openxmlformats.org/officeDocument/2006/relationships/image" Target="../media/image6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bin"/><Relationship Id="rId2" Type="http://schemas.openxmlformats.org/officeDocument/2006/relationships/image" Target="../media/image7.jpg"/><Relationship Id="rId1" Type="http://schemas.openxmlformats.org/officeDocument/2006/relationships/image" Target="../media/image6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0FEDE3-5C3E-4B4B-B1CA-FC80856C4F0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59D735-F974-44F7-AA70-FA7FC78032FC}">
      <dgm:prSet/>
      <dgm:spPr/>
      <dgm:t>
        <a:bodyPr/>
        <a:lstStyle/>
        <a:p>
          <a:r>
            <a:rPr lang="en-US" dirty="0"/>
            <a:t>The COVID-19 situation is influencing customer behavior and, as a result, marketing strategies.</a:t>
          </a:r>
        </a:p>
      </dgm:t>
    </dgm:pt>
    <dgm:pt modelId="{336AD7FA-1E39-4786-AC58-CE6A90A32815}" type="parTrans" cxnId="{C48D713F-742A-47D6-86EA-ABC8DED7D852}">
      <dgm:prSet/>
      <dgm:spPr/>
      <dgm:t>
        <a:bodyPr/>
        <a:lstStyle/>
        <a:p>
          <a:endParaRPr lang="en-US"/>
        </a:p>
      </dgm:t>
    </dgm:pt>
    <dgm:pt modelId="{3FFB72F7-4FD0-47B1-8A6C-6CDA2BF2DE60}" type="sibTrans" cxnId="{C48D713F-742A-47D6-86EA-ABC8DED7D852}">
      <dgm:prSet/>
      <dgm:spPr/>
      <dgm:t>
        <a:bodyPr/>
        <a:lstStyle/>
        <a:p>
          <a:endParaRPr lang="en-US"/>
        </a:p>
      </dgm:t>
    </dgm:pt>
    <dgm:pt modelId="{16419635-578D-43C5-A4A9-ABF4A356A32A}">
      <dgm:prSet/>
      <dgm:spPr/>
      <dgm:t>
        <a:bodyPr/>
        <a:lstStyle/>
        <a:p>
          <a:r>
            <a:rPr lang="en-US" dirty="0"/>
            <a:t>Consumers are being pushed to reconsider their objectives in life. </a:t>
          </a:r>
        </a:p>
      </dgm:t>
    </dgm:pt>
    <dgm:pt modelId="{5DAB20F0-5315-48FF-A373-F8F7C28D441E}" type="parTrans" cxnId="{FFC41035-7871-4C86-9447-129BCBF28663}">
      <dgm:prSet/>
      <dgm:spPr/>
      <dgm:t>
        <a:bodyPr/>
        <a:lstStyle/>
        <a:p>
          <a:endParaRPr lang="en-US"/>
        </a:p>
      </dgm:t>
    </dgm:pt>
    <dgm:pt modelId="{0683A9F4-255F-4B49-A32C-D26EAF9ECBCC}" type="sibTrans" cxnId="{FFC41035-7871-4C86-9447-129BCBF28663}">
      <dgm:prSet/>
      <dgm:spPr/>
      <dgm:t>
        <a:bodyPr/>
        <a:lstStyle/>
        <a:p>
          <a:endParaRPr lang="en-US"/>
        </a:p>
      </dgm:t>
    </dgm:pt>
    <dgm:pt modelId="{036CDE7A-E892-4062-93B4-392B3FE8864E}">
      <dgm:prSet/>
      <dgm:spPr/>
      <dgm:t>
        <a:bodyPr/>
        <a:lstStyle/>
        <a:p>
          <a:r>
            <a:rPr lang="en-US" dirty="0" err="1"/>
            <a:t>Asignificant</a:t>
          </a:r>
          <a:r>
            <a:rPr lang="en-US" dirty="0"/>
            <a:t> influence on mobility behavior, Global Economy and wearable market.</a:t>
          </a:r>
        </a:p>
      </dgm:t>
    </dgm:pt>
    <dgm:pt modelId="{E57D05A1-D37E-4265-83A9-22509167304D}" type="parTrans" cxnId="{B32304E4-B904-4504-B491-2E50BEB6BC12}">
      <dgm:prSet/>
      <dgm:spPr/>
      <dgm:t>
        <a:bodyPr/>
        <a:lstStyle/>
        <a:p>
          <a:endParaRPr lang="en-US"/>
        </a:p>
      </dgm:t>
    </dgm:pt>
    <dgm:pt modelId="{A83D88C7-0450-4C38-9B72-12E347775C6C}" type="sibTrans" cxnId="{B32304E4-B904-4504-B491-2E50BEB6BC12}">
      <dgm:prSet/>
      <dgm:spPr/>
      <dgm:t>
        <a:bodyPr/>
        <a:lstStyle/>
        <a:p>
          <a:endParaRPr lang="en-US"/>
        </a:p>
      </dgm:t>
    </dgm:pt>
    <dgm:pt modelId="{B1A210D4-D8F0-43C9-BC4B-02CD5E7782F8}" type="pres">
      <dgm:prSet presAssocID="{900FEDE3-5C3E-4B4B-B1CA-FC80856C4F05}" presName="linearFlow" presStyleCnt="0">
        <dgm:presLayoutVars>
          <dgm:dir/>
          <dgm:resizeHandles val="exact"/>
        </dgm:presLayoutVars>
      </dgm:prSet>
      <dgm:spPr/>
    </dgm:pt>
    <dgm:pt modelId="{A3F0CD97-4341-4620-9CD2-B0A54528FD86}" type="pres">
      <dgm:prSet presAssocID="{B359D735-F974-44F7-AA70-FA7FC78032FC}" presName="composite" presStyleCnt="0"/>
      <dgm:spPr/>
    </dgm:pt>
    <dgm:pt modelId="{8B58AB2E-4F90-4959-8C2B-E84180BEB22B}" type="pres">
      <dgm:prSet presAssocID="{B359D735-F974-44F7-AA70-FA7FC78032FC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</dgm:spPr>
    </dgm:pt>
    <dgm:pt modelId="{0F8BBA62-672F-415B-B5E1-C90D81B60608}" type="pres">
      <dgm:prSet presAssocID="{B359D735-F974-44F7-AA70-FA7FC78032FC}" presName="txShp" presStyleLbl="node1" presStyleIdx="0" presStyleCnt="3" custScaleX="104567">
        <dgm:presLayoutVars>
          <dgm:bulletEnabled val="1"/>
        </dgm:presLayoutVars>
      </dgm:prSet>
      <dgm:spPr/>
    </dgm:pt>
    <dgm:pt modelId="{DB68F4EC-5872-4E82-9580-E100CF2E1F67}" type="pres">
      <dgm:prSet presAssocID="{3FFB72F7-4FD0-47B1-8A6C-6CDA2BF2DE60}" presName="spacing" presStyleCnt="0"/>
      <dgm:spPr/>
    </dgm:pt>
    <dgm:pt modelId="{7A419773-4172-4796-A15D-2FDC08A66D78}" type="pres">
      <dgm:prSet presAssocID="{16419635-578D-43C5-A4A9-ABF4A356A32A}" presName="composite" presStyleCnt="0"/>
      <dgm:spPr/>
    </dgm:pt>
    <dgm:pt modelId="{0B710467-9B99-4A3F-962B-C5EDCFB5EF32}" type="pres">
      <dgm:prSet presAssocID="{16419635-578D-43C5-A4A9-ABF4A356A32A}" presName="imgShp" presStyleLbl="fgImgPlace1" presStyleIdx="1" presStyleCnt="3"/>
      <dgm:spPr>
        <a:blipFill>
          <a:blip xmlns:r="http://schemas.openxmlformats.org/officeDocument/2006/relationships" r:embed="rId2"/>
          <a:srcRect/>
          <a:stretch>
            <a:fillRect/>
          </a:stretch>
        </a:blipFill>
      </dgm:spPr>
    </dgm:pt>
    <dgm:pt modelId="{38627B9A-BDE6-462C-A165-97E4CD9DF5B7}" type="pres">
      <dgm:prSet presAssocID="{16419635-578D-43C5-A4A9-ABF4A356A32A}" presName="txShp" presStyleLbl="node1" presStyleIdx="1" presStyleCnt="3" custScaleX="103113" custScaleY="107050">
        <dgm:presLayoutVars>
          <dgm:bulletEnabled val="1"/>
        </dgm:presLayoutVars>
      </dgm:prSet>
      <dgm:spPr/>
    </dgm:pt>
    <dgm:pt modelId="{A3C308A8-6480-49BA-BD89-2AF6AFDCB847}" type="pres">
      <dgm:prSet presAssocID="{0683A9F4-255F-4B49-A32C-D26EAF9ECBCC}" presName="spacing" presStyleCnt="0"/>
      <dgm:spPr/>
    </dgm:pt>
    <dgm:pt modelId="{A5962623-F7EC-41D6-A924-657F0A23F62D}" type="pres">
      <dgm:prSet presAssocID="{036CDE7A-E892-4062-93B4-392B3FE8864E}" presName="composite" presStyleCnt="0"/>
      <dgm:spPr/>
    </dgm:pt>
    <dgm:pt modelId="{5B202C31-B787-4FA8-ACC2-F419FC721C47}" type="pres">
      <dgm:prSet presAssocID="{036CDE7A-E892-4062-93B4-392B3FE8864E}" presName="imgShp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</dgm:spPr>
    </dgm:pt>
    <dgm:pt modelId="{092D2BEB-486A-4A42-A5DF-8E7DCF177874}" type="pres">
      <dgm:prSet presAssocID="{036CDE7A-E892-4062-93B4-392B3FE8864E}" presName="txShp" presStyleLbl="node1" presStyleIdx="2" presStyleCnt="3">
        <dgm:presLayoutVars>
          <dgm:bulletEnabled val="1"/>
        </dgm:presLayoutVars>
      </dgm:prSet>
      <dgm:spPr/>
    </dgm:pt>
  </dgm:ptLst>
  <dgm:cxnLst>
    <dgm:cxn modelId="{1682C727-94CA-4EFF-BC29-FEE38C4CF809}" type="presOf" srcId="{16419635-578D-43C5-A4A9-ABF4A356A32A}" destId="{38627B9A-BDE6-462C-A165-97E4CD9DF5B7}" srcOrd="0" destOrd="0" presId="urn:microsoft.com/office/officeart/2005/8/layout/vList3"/>
    <dgm:cxn modelId="{FFC41035-7871-4C86-9447-129BCBF28663}" srcId="{900FEDE3-5C3E-4B4B-B1CA-FC80856C4F05}" destId="{16419635-578D-43C5-A4A9-ABF4A356A32A}" srcOrd="1" destOrd="0" parTransId="{5DAB20F0-5315-48FF-A373-F8F7C28D441E}" sibTransId="{0683A9F4-255F-4B49-A32C-D26EAF9ECBCC}"/>
    <dgm:cxn modelId="{C48D713F-742A-47D6-86EA-ABC8DED7D852}" srcId="{900FEDE3-5C3E-4B4B-B1CA-FC80856C4F05}" destId="{B359D735-F974-44F7-AA70-FA7FC78032FC}" srcOrd="0" destOrd="0" parTransId="{336AD7FA-1E39-4786-AC58-CE6A90A32815}" sibTransId="{3FFB72F7-4FD0-47B1-8A6C-6CDA2BF2DE60}"/>
    <dgm:cxn modelId="{9F7BBA55-87E0-4954-A4B5-C6234DF8E483}" type="presOf" srcId="{B359D735-F974-44F7-AA70-FA7FC78032FC}" destId="{0F8BBA62-672F-415B-B5E1-C90D81B60608}" srcOrd="0" destOrd="0" presId="urn:microsoft.com/office/officeart/2005/8/layout/vList3"/>
    <dgm:cxn modelId="{1DCA14CA-536B-4E75-AE22-564766C0ADBA}" type="presOf" srcId="{036CDE7A-E892-4062-93B4-392B3FE8864E}" destId="{092D2BEB-486A-4A42-A5DF-8E7DCF177874}" srcOrd="0" destOrd="0" presId="urn:microsoft.com/office/officeart/2005/8/layout/vList3"/>
    <dgm:cxn modelId="{A7086BDC-C73C-459E-82F6-31018B5C0245}" type="presOf" srcId="{900FEDE3-5C3E-4B4B-B1CA-FC80856C4F05}" destId="{B1A210D4-D8F0-43C9-BC4B-02CD5E7782F8}" srcOrd="0" destOrd="0" presId="urn:microsoft.com/office/officeart/2005/8/layout/vList3"/>
    <dgm:cxn modelId="{B32304E4-B904-4504-B491-2E50BEB6BC12}" srcId="{900FEDE3-5C3E-4B4B-B1CA-FC80856C4F05}" destId="{036CDE7A-E892-4062-93B4-392B3FE8864E}" srcOrd="2" destOrd="0" parTransId="{E57D05A1-D37E-4265-83A9-22509167304D}" sibTransId="{A83D88C7-0450-4C38-9B72-12E347775C6C}"/>
    <dgm:cxn modelId="{07E64486-6A6F-4EEE-8999-4872AC81F103}" type="presParOf" srcId="{B1A210D4-D8F0-43C9-BC4B-02CD5E7782F8}" destId="{A3F0CD97-4341-4620-9CD2-B0A54528FD86}" srcOrd="0" destOrd="0" presId="urn:microsoft.com/office/officeart/2005/8/layout/vList3"/>
    <dgm:cxn modelId="{560B573A-C1E0-4E8A-88A6-14158AC2B2CD}" type="presParOf" srcId="{A3F0CD97-4341-4620-9CD2-B0A54528FD86}" destId="{8B58AB2E-4F90-4959-8C2B-E84180BEB22B}" srcOrd="0" destOrd="0" presId="urn:microsoft.com/office/officeart/2005/8/layout/vList3"/>
    <dgm:cxn modelId="{8AF6EE8D-E1F1-4038-8993-F2FC88598A9D}" type="presParOf" srcId="{A3F0CD97-4341-4620-9CD2-B0A54528FD86}" destId="{0F8BBA62-672F-415B-B5E1-C90D81B60608}" srcOrd="1" destOrd="0" presId="urn:microsoft.com/office/officeart/2005/8/layout/vList3"/>
    <dgm:cxn modelId="{D5584E79-4A0F-4D06-BB92-75D3BA7C4F96}" type="presParOf" srcId="{B1A210D4-D8F0-43C9-BC4B-02CD5E7782F8}" destId="{DB68F4EC-5872-4E82-9580-E100CF2E1F67}" srcOrd="1" destOrd="0" presId="urn:microsoft.com/office/officeart/2005/8/layout/vList3"/>
    <dgm:cxn modelId="{E6D1C55F-4DF9-4E83-BD3A-43E747A406BC}" type="presParOf" srcId="{B1A210D4-D8F0-43C9-BC4B-02CD5E7782F8}" destId="{7A419773-4172-4796-A15D-2FDC08A66D78}" srcOrd="2" destOrd="0" presId="urn:microsoft.com/office/officeart/2005/8/layout/vList3"/>
    <dgm:cxn modelId="{058F2FC4-D766-470C-BA4D-B47BDFB1EDF3}" type="presParOf" srcId="{7A419773-4172-4796-A15D-2FDC08A66D78}" destId="{0B710467-9B99-4A3F-962B-C5EDCFB5EF32}" srcOrd="0" destOrd="0" presId="urn:microsoft.com/office/officeart/2005/8/layout/vList3"/>
    <dgm:cxn modelId="{799C33B2-AE7C-428A-AB8E-0A631E4B28E6}" type="presParOf" srcId="{7A419773-4172-4796-A15D-2FDC08A66D78}" destId="{38627B9A-BDE6-462C-A165-97E4CD9DF5B7}" srcOrd="1" destOrd="0" presId="urn:microsoft.com/office/officeart/2005/8/layout/vList3"/>
    <dgm:cxn modelId="{D60FC193-B824-4743-AE3D-E4C054FD27E7}" type="presParOf" srcId="{B1A210D4-D8F0-43C9-BC4B-02CD5E7782F8}" destId="{A3C308A8-6480-49BA-BD89-2AF6AFDCB847}" srcOrd="3" destOrd="0" presId="urn:microsoft.com/office/officeart/2005/8/layout/vList3"/>
    <dgm:cxn modelId="{D1857736-18E3-4B20-ABDF-C2E583D27DC6}" type="presParOf" srcId="{B1A210D4-D8F0-43C9-BC4B-02CD5E7782F8}" destId="{A5962623-F7EC-41D6-A924-657F0A23F62D}" srcOrd="4" destOrd="0" presId="urn:microsoft.com/office/officeart/2005/8/layout/vList3"/>
    <dgm:cxn modelId="{542460A8-F382-4116-AAC5-43A215EF22F6}" type="presParOf" srcId="{A5962623-F7EC-41D6-A924-657F0A23F62D}" destId="{5B202C31-B787-4FA8-ACC2-F419FC721C47}" srcOrd="0" destOrd="0" presId="urn:microsoft.com/office/officeart/2005/8/layout/vList3"/>
    <dgm:cxn modelId="{B727529A-247B-4631-A4AF-1DBFCE5BB955}" type="presParOf" srcId="{A5962623-F7EC-41D6-A924-657F0A23F62D}" destId="{092D2BEB-486A-4A42-A5DF-8E7DCF17787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C51CA3-DE13-4AB1-92F8-CC379842FD44}" type="doc">
      <dgm:prSet loTypeId="urn:microsoft.com/office/officeart/2005/8/layout/arrow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4A2CB84-7FE8-4A03-84BC-0B7AF7276AEF}">
      <dgm:prSet phldrT="[Text]" custT="1"/>
      <dgm:spPr/>
      <dgm:t>
        <a:bodyPr/>
        <a:lstStyle/>
        <a:p>
          <a:endParaRPr lang="en-US" sz="3000" kern="1200" dirty="0">
            <a:solidFill>
              <a:schemeClr val="accent2">
                <a:lumMod val="75000"/>
              </a:schemeClr>
            </a:solidFill>
          </a:endParaRPr>
        </a:p>
        <a:p>
          <a:r>
            <a:rPr lang="en-US" sz="3200" kern="1200" dirty="0">
              <a:solidFill>
                <a:schemeClr val="accent2">
                  <a:lumMod val="75000"/>
                </a:schemeClr>
              </a:solidFill>
            </a:rPr>
            <a:t>Germany</a:t>
          </a:r>
          <a:r>
            <a:rPr lang="en-US" sz="3000" kern="1200" dirty="0">
              <a:solidFill>
                <a:schemeClr val="accent2">
                  <a:lumMod val="75000"/>
                </a:schemeClr>
              </a:solidFill>
            </a:rPr>
            <a:t> </a:t>
          </a:r>
          <a:r>
            <a:rPr lang="en-US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hows use of </a:t>
          </a:r>
          <a:r>
            <a:rPr lang="en-US" sz="3200" kern="1200" dirty="0">
              <a:solidFill>
                <a:srgbClr val="ED7D31">
                  <a:lumMod val="75000"/>
                </a:srgbClr>
              </a:solidFill>
              <a:latin typeface="Calibri" panose="020F0502020204030204"/>
              <a:ea typeface="+mn-ea"/>
              <a:cs typeface="+mn-cs"/>
            </a:rPr>
            <a:t>Public transport </a:t>
          </a:r>
          <a:r>
            <a:rPr lang="en-US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the most.</a:t>
          </a:r>
        </a:p>
        <a:p>
          <a:endParaRPr lang="en-US" sz="3000" kern="1200" dirty="0">
            <a:solidFill>
              <a:schemeClr val="accent2">
                <a:lumMod val="75000"/>
              </a:schemeClr>
            </a:solidFill>
          </a:endParaRPr>
        </a:p>
      </dgm:t>
    </dgm:pt>
    <dgm:pt modelId="{4E6FB57C-5B10-4D5C-8DC5-1FAB12655DB6}" type="parTrans" cxnId="{D294B581-6622-403E-A006-0697253CB3D1}">
      <dgm:prSet/>
      <dgm:spPr/>
      <dgm:t>
        <a:bodyPr/>
        <a:lstStyle/>
        <a:p>
          <a:endParaRPr lang="en-US"/>
        </a:p>
      </dgm:t>
    </dgm:pt>
    <dgm:pt modelId="{A366EF97-76C3-4336-9CA2-8091F54040BD}" type="sibTrans" cxnId="{D294B581-6622-403E-A006-0697253CB3D1}">
      <dgm:prSet/>
      <dgm:spPr/>
      <dgm:t>
        <a:bodyPr/>
        <a:lstStyle/>
        <a:p>
          <a:endParaRPr lang="en-US"/>
        </a:p>
      </dgm:t>
    </dgm:pt>
    <dgm:pt modelId="{E3B1576A-B42F-4B5E-BB5F-2DB0613C209F}">
      <dgm:prSet phldrT="[Text]" custT="1"/>
      <dgm:spPr/>
      <dgm:t>
        <a:bodyPr/>
        <a:lstStyle/>
        <a:p>
          <a:r>
            <a:rPr lang="de-DE" sz="3500" kern="1200" dirty="0">
              <a:solidFill>
                <a:schemeClr val="accent2">
                  <a:lumMod val="75000"/>
                </a:schemeClr>
              </a:solidFill>
            </a:rPr>
            <a:t>Brazil 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hows </a:t>
          </a:r>
          <a:r>
            <a:rPr lang="de-DE" sz="24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the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least </a:t>
          </a:r>
          <a:r>
            <a:rPr lang="de-DE" sz="24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use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of Private </a:t>
          </a:r>
          <a:r>
            <a:rPr lang="de-DE" sz="3500" kern="1200" dirty="0">
              <a:solidFill>
                <a:srgbClr val="ED7D31">
                  <a:lumMod val="75000"/>
                </a:srgbClr>
              </a:solidFill>
              <a:latin typeface="Calibri" panose="020F0502020204030204"/>
              <a:ea typeface="+mn-ea"/>
              <a:cs typeface="+mn-cs"/>
            </a:rPr>
            <a:t>Cars</a:t>
          </a:r>
          <a:r>
            <a:rPr lang="en-US" sz="35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.</a:t>
          </a:r>
          <a:endParaRPr lang="en-US" sz="3500" kern="1200" dirty="0">
            <a:solidFill>
              <a:srgbClr val="ED7D31">
                <a:lumMod val="75000"/>
              </a:srgbClr>
            </a:solidFill>
            <a:latin typeface="Calibri" panose="020F0502020204030204"/>
            <a:ea typeface="+mn-ea"/>
            <a:cs typeface="+mn-cs"/>
          </a:endParaRPr>
        </a:p>
      </dgm:t>
    </dgm:pt>
    <dgm:pt modelId="{9A53B791-A522-474E-B4B1-A6F03EB58D82}" type="sibTrans" cxnId="{D9DE1A14-54BC-4308-8432-4E218ECCE5D2}">
      <dgm:prSet/>
      <dgm:spPr/>
      <dgm:t>
        <a:bodyPr/>
        <a:lstStyle/>
        <a:p>
          <a:endParaRPr lang="en-US"/>
        </a:p>
      </dgm:t>
    </dgm:pt>
    <dgm:pt modelId="{C9EFCFDE-5C2B-4144-BEB6-40906FE49E75}" type="parTrans" cxnId="{D9DE1A14-54BC-4308-8432-4E218ECCE5D2}">
      <dgm:prSet/>
      <dgm:spPr/>
      <dgm:t>
        <a:bodyPr/>
        <a:lstStyle/>
        <a:p>
          <a:endParaRPr lang="en-US"/>
        </a:p>
      </dgm:t>
    </dgm:pt>
    <dgm:pt modelId="{19A50BB9-1B2D-4062-BDF1-0777746F8E26}" type="pres">
      <dgm:prSet presAssocID="{FDC51CA3-DE13-4AB1-92F8-CC379842FD44}" presName="compositeShape" presStyleCnt="0">
        <dgm:presLayoutVars>
          <dgm:chMax val="2"/>
          <dgm:dir/>
          <dgm:resizeHandles val="exact"/>
        </dgm:presLayoutVars>
      </dgm:prSet>
      <dgm:spPr/>
    </dgm:pt>
    <dgm:pt modelId="{96183721-021E-4A37-8A39-8772DD5DF626}" type="pres">
      <dgm:prSet presAssocID="{64A2CB84-7FE8-4A03-84BC-0B7AF7276AEF}" presName="upArrow" presStyleLbl="node1" presStyleIdx="0" presStyleCnt="2" custScaleX="46204" custScaleY="80293" custLinFactNeighborX="-14863" custLinFactNeighborY="-7976"/>
      <dgm:spPr/>
    </dgm:pt>
    <dgm:pt modelId="{A9CE90B5-DAB4-419B-8F57-A268848F9C1A}" type="pres">
      <dgm:prSet presAssocID="{64A2CB84-7FE8-4A03-84BC-0B7AF7276AEF}" presName="upArrowText" presStyleLbl="revTx" presStyleIdx="0" presStyleCnt="2" custScaleX="132310">
        <dgm:presLayoutVars>
          <dgm:chMax val="0"/>
          <dgm:bulletEnabled val="1"/>
        </dgm:presLayoutVars>
      </dgm:prSet>
      <dgm:spPr/>
    </dgm:pt>
    <dgm:pt modelId="{2B2F04DB-199F-4176-98A4-C3364E1C2FA9}" type="pres">
      <dgm:prSet presAssocID="{E3B1576A-B42F-4B5E-BB5F-2DB0613C209F}" presName="downArrow" presStyleLbl="node1" presStyleIdx="1" presStyleCnt="2" custScaleX="44678" custScaleY="89527" custLinFactNeighborX="-990" custLinFactNeighborY="-4426"/>
      <dgm:spPr/>
    </dgm:pt>
    <dgm:pt modelId="{DAD42CC0-A664-4DEC-979F-E9E6946D5A18}" type="pres">
      <dgm:prSet presAssocID="{E3B1576A-B42F-4B5E-BB5F-2DB0613C209F}" presName="downArrowText" presStyleLbl="revTx" presStyleIdx="1" presStyleCnt="2" custScaleX="133631" custLinFactNeighborX="-5839" custLinFactNeighborY="-1877">
        <dgm:presLayoutVars>
          <dgm:chMax val="0"/>
          <dgm:bulletEnabled val="1"/>
        </dgm:presLayoutVars>
      </dgm:prSet>
      <dgm:spPr/>
    </dgm:pt>
  </dgm:ptLst>
  <dgm:cxnLst>
    <dgm:cxn modelId="{D9DE1A14-54BC-4308-8432-4E218ECCE5D2}" srcId="{FDC51CA3-DE13-4AB1-92F8-CC379842FD44}" destId="{E3B1576A-B42F-4B5E-BB5F-2DB0613C209F}" srcOrd="1" destOrd="0" parTransId="{C9EFCFDE-5C2B-4144-BEB6-40906FE49E75}" sibTransId="{9A53B791-A522-474E-B4B1-A6F03EB58D82}"/>
    <dgm:cxn modelId="{DD894E73-075F-4956-BBB2-E7300EF2B18A}" type="presOf" srcId="{FDC51CA3-DE13-4AB1-92F8-CC379842FD44}" destId="{19A50BB9-1B2D-4062-BDF1-0777746F8E26}" srcOrd="0" destOrd="0" presId="urn:microsoft.com/office/officeart/2005/8/layout/arrow4"/>
    <dgm:cxn modelId="{D294B581-6622-403E-A006-0697253CB3D1}" srcId="{FDC51CA3-DE13-4AB1-92F8-CC379842FD44}" destId="{64A2CB84-7FE8-4A03-84BC-0B7AF7276AEF}" srcOrd="0" destOrd="0" parTransId="{4E6FB57C-5B10-4D5C-8DC5-1FAB12655DB6}" sibTransId="{A366EF97-76C3-4336-9CA2-8091F54040BD}"/>
    <dgm:cxn modelId="{A81AAAB5-D43C-4B8C-8030-FA77FF1A06F1}" type="presOf" srcId="{64A2CB84-7FE8-4A03-84BC-0B7AF7276AEF}" destId="{A9CE90B5-DAB4-419B-8F57-A268848F9C1A}" srcOrd="0" destOrd="0" presId="urn:microsoft.com/office/officeart/2005/8/layout/arrow4"/>
    <dgm:cxn modelId="{29E4EED8-0868-47F3-9F97-D750BA4CB6EC}" type="presOf" srcId="{E3B1576A-B42F-4B5E-BB5F-2DB0613C209F}" destId="{DAD42CC0-A664-4DEC-979F-E9E6946D5A18}" srcOrd="0" destOrd="0" presId="urn:microsoft.com/office/officeart/2005/8/layout/arrow4"/>
    <dgm:cxn modelId="{D9A37990-9251-4C97-978C-FAB7CD2F84FE}" type="presParOf" srcId="{19A50BB9-1B2D-4062-BDF1-0777746F8E26}" destId="{96183721-021E-4A37-8A39-8772DD5DF626}" srcOrd="0" destOrd="0" presId="urn:microsoft.com/office/officeart/2005/8/layout/arrow4"/>
    <dgm:cxn modelId="{BA8CE7E3-D468-4C3C-AB6A-A52138D10876}" type="presParOf" srcId="{19A50BB9-1B2D-4062-BDF1-0777746F8E26}" destId="{A9CE90B5-DAB4-419B-8F57-A268848F9C1A}" srcOrd="1" destOrd="0" presId="urn:microsoft.com/office/officeart/2005/8/layout/arrow4"/>
    <dgm:cxn modelId="{E267AE9E-C482-4B5B-BC10-B84E9647A3E3}" type="presParOf" srcId="{19A50BB9-1B2D-4062-BDF1-0777746F8E26}" destId="{2B2F04DB-199F-4176-98A4-C3364E1C2FA9}" srcOrd="2" destOrd="0" presId="urn:microsoft.com/office/officeart/2005/8/layout/arrow4"/>
    <dgm:cxn modelId="{91C35ACB-B15A-4444-93B3-5786ADA4BD17}" type="presParOf" srcId="{19A50BB9-1B2D-4062-BDF1-0777746F8E26}" destId="{DAD42CC0-A664-4DEC-979F-E9E6946D5A18}" srcOrd="3" destOrd="0" presId="urn:microsoft.com/office/officeart/2005/8/layout/arrow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DC51CA3-DE13-4AB1-92F8-CC379842FD44}" type="doc">
      <dgm:prSet loTypeId="urn:microsoft.com/office/officeart/2005/8/layout/arrow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4A2CB84-7FE8-4A03-84BC-0B7AF7276AEF}">
      <dgm:prSet phldrT="[Text]" custT="1"/>
      <dgm:spPr/>
      <dgm:t>
        <a:bodyPr/>
        <a:lstStyle/>
        <a:p>
          <a:r>
            <a:rPr lang="de-DE" sz="2400" dirty="0"/>
            <a:t>A Shift to use Private </a:t>
          </a:r>
          <a:r>
            <a:rPr lang="de-DE" sz="3200" dirty="0">
              <a:solidFill>
                <a:schemeClr val="accent4">
                  <a:lumMod val="75000"/>
                </a:schemeClr>
              </a:solidFill>
            </a:rPr>
            <a:t>Cars</a:t>
          </a:r>
          <a:r>
            <a:rPr lang="de-DE" sz="2400" dirty="0"/>
            <a:t> in The </a:t>
          </a:r>
          <a:r>
            <a:rPr lang="de-DE" sz="3200" dirty="0">
              <a:solidFill>
                <a:schemeClr val="accent4">
                  <a:lumMod val="75000"/>
                </a:schemeClr>
              </a:solidFill>
            </a:rPr>
            <a:t>US</a:t>
          </a:r>
          <a:r>
            <a:rPr lang="de-DE" sz="2400" dirty="0"/>
            <a:t> and </a:t>
          </a:r>
          <a:r>
            <a:rPr lang="de-DE" sz="3200" dirty="0">
              <a:solidFill>
                <a:schemeClr val="accent4">
                  <a:lumMod val="75000"/>
                </a:schemeClr>
              </a:solidFill>
            </a:rPr>
            <a:t>Germany</a:t>
          </a:r>
          <a:endParaRPr lang="en-US" sz="3200" dirty="0">
            <a:solidFill>
              <a:schemeClr val="accent4">
                <a:lumMod val="75000"/>
              </a:schemeClr>
            </a:solidFill>
          </a:endParaRPr>
        </a:p>
      </dgm:t>
    </dgm:pt>
    <dgm:pt modelId="{4E6FB57C-5B10-4D5C-8DC5-1FAB12655DB6}" type="parTrans" cxnId="{D294B581-6622-403E-A006-0697253CB3D1}">
      <dgm:prSet/>
      <dgm:spPr/>
      <dgm:t>
        <a:bodyPr/>
        <a:lstStyle/>
        <a:p>
          <a:endParaRPr lang="en-US"/>
        </a:p>
      </dgm:t>
    </dgm:pt>
    <dgm:pt modelId="{A366EF97-76C3-4336-9CA2-8091F54040BD}" type="sibTrans" cxnId="{D294B581-6622-403E-A006-0697253CB3D1}">
      <dgm:prSet/>
      <dgm:spPr/>
      <dgm:t>
        <a:bodyPr/>
        <a:lstStyle/>
        <a:p>
          <a:endParaRPr lang="en-US"/>
        </a:p>
      </dgm:t>
    </dgm:pt>
    <dgm:pt modelId="{E3B1576A-B42F-4B5E-BB5F-2DB0613C209F}">
      <dgm:prSet phldrT="[Text]" custT="1"/>
      <dgm:spPr/>
      <dgm:t>
        <a:bodyPr/>
        <a:lstStyle/>
        <a:p>
          <a:r>
            <a:rPr lang="de-DE" sz="3500" kern="1200" dirty="0">
              <a:solidFill>
                <a:schemeClr val="accent4">
                  <a:lumMod val="75000"/>
                </a:schemeClr>
              </a:solidFill>
            </a:rPr>
            <a:t>Brazil</a:t>
          </a:r>
          <a:r>
            <a:rPr lang="de-DE" sz="3500" kern="1200" dirty="0">
              <a:solidFill>
                <a:schemeClr val="accent2">
                  <a:lumMod val="75000"/>
                </a:schemeClr>
              </a:solidFill>
            </a:rPr>
            <a:t> 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hows less</a:t>
          </a:r>
          <a:r>
            <a:rPr lang="ar-EG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use of Private Cars</a:t>
          </a:r>
          <a:endParaRPr lang="en-US" sz="24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</dgm:t>
    </dgm:pt>
    <dgm:pt modelId="{C9EFCFDE-5C2B-4144-BEB6-40906FE49E75}" type="parTrans" cxnId="{D9DE1A14-54BC-4308-8432-4E218ECCE5D2}">
      <dgm:prSet/>
      <dgm:spPr/>
      <dgm:t>
        <a:bodyPr/>
        <a:lstStyle/>
        <a:p>
          <a:endParaRPr lang="en-US"/>
        </a:p>
      </dgm:t>
    </dgm:pt>
    <dgm:pt modelId="{9A53B791-A522-474E-B4B1-A6F03EB58D82}" type="sibTrans" cxnId="{D9DE1A14-54BC-4308-8432-4E218ECCE5D2}">
      <dgm:prSet/>
      <dgm:spPr/>
      <dgm:t>
        <a:bodyPr/>
        <a:lstStyle/>
        <a:p>
          <a:endParaRPr lang="en-US"/>
        </a:p>
      </dgm:t>
    </dgm:pt>
    <dgm:pt modelId="{19A50BB9-1B2D-4062-BDF1-0777746F8E26}" type="pres">
      <dgm:prSet presAssocID="{FDC51CA3-DE13-4AB1-92F8-CC379842FD44}" presName="compositeShape" presStyleCnt="0">
        <dgm:presLayoutVars>
          <dgm:chMax val="2"/>
          <dgm:dir/>
          <dgm:resizeHandles val="exact"/>
        </dgm:presLayoutVars>
      </dgm:prSet>
      <dgm:spPr/>
    </dgm:pt>
    <dgm:pt modelId="{96183721-021E-4A37-8A39-8772DD5DF626}" type="pres">
      <dgm:prSet presAssocID="{64A2CB84-7FE8-4A03-84BC-0B7AF7276AEF}" presName="upArrow" presStyleLbl="node1" presStyleIdx="0" presStyleCnt="2" custScaleX="60102"/>
      <dgm:spPr/>
    </dgm:pt>
    <dgm:pt modelId="{A9CE90B5-DAB4-419B-8F57-A268848F9C1A}" type="pres">
      <dgm:prSet presAssocID="{64A2CB84-7FE8-4A03-84BC-0B7AF7276AEF}" presName="upArrowText" presStyleLbl="revTx" presStyleIdx="0" presStyleCnt="2">
        <dgm:presLayoutVars>
          <dgm:chMax val="0"/>
          <dgm:bulletEnabled val="1"/>
        </dgm:presLayoutVars>
      </dgm:prSet>
      <dgm:spPr/>
    </dgm:pt>
    <dgm:pt modelId="{2B2F04DB-199F-4176-98A4-C3364E1C2FA9}" type="pres">
      <dgm:prSet presAssocID="{E3B1576A-B42F-4B5E-BB5F-2DB0613C209F}" presName="downArrow" presStyleLbl="node1" presStyleIdx="1" presStyleCnt="2" custScaleX="57380"/>
      <dgm:spPr/>
    </dgm:pt>
    <dgm:pt modelId="{DAD42CC0-A664-4DEC-979F-E9E6946D5A18}" type="pres">
      <dgm:prSet presAssocID="{E3B1576A-B42F-4B5E-BB5F-2DB0613C209F}" presName="downArrowText" presStyleLbl="revTx" presStyleIdx="1" presStyleCnt="2" custLinFactNeighborX="-16382" custLinFactNeighborY="-11869">
        <dgm:presLayoutVars>
          <dgm:chMax val="0"/>
          <dgm:bulletEnabled val="1"/>
        </dgm:presLayoutVars>
      </dgm:prSet>
      <dgm:spPr/>
    </dgm:pt>
  </dgm:ptLst>
  <dgm:cxnLst>
    <dgm:cxn modelId="{D9DE1A14-54BC-4308-8432-4E218ECCE5D2}" srcId="{FDC51CA3-DE13-4AB1-92F8-CC379842FD44}" destId="{E3B1576A-B42F-4B5E-BB5F-2DB0613C209F}" srcOrd="1" destOrd="0" parTransId="{C9EFCFDE-5C2B-4144-BEB6-40906FE49E75}" sibTransId="{9A53B791-A522-474E-B4B1-A6F03EB58D82}"/>
    <dgm:cxn modelId="{F21C0449-DB94-4077-9EE4-D1325E38CDA8}" type="presOf" srcId="{64A2CB84-7FE8-4A03-84BC-0B7AF7276AEF}" destId="{A9CE90B5-DAB4-419B-8F57-A268848F9C1A}" srcOrd="0" destOrd="0" presId="urn:microsoft.com/office/officeart/2005/8/layout/arrow4"/>
    <dgm:cxn modelId="{D294B581-6622-403E-A006-0697253CB3D1}" srcId="{FDC51CA3-DE13-4AB1-92F8-CC379842FD44}" destId="{64A2CB84-7FE8-4A03-84BC-0B7AF7276AEF}" srcOrd="0" destOrd="0" parTransId="{4E6FB57C-5B10-4D5C-8DC5-1FAB12655DB6}" sibTransId="{A366EF97-76C3-4336-9CA2-8091F54040BD}"/>
    <dgm:cxn modelId="{B03089D7-F0EC-49B0-B94D-15254E26179C}" type="presOf" srcId="{E3B1576A-B42F-4B5E-BB5F-2DB0613C209F}" destId="{DAD42CC0-A664-4DEC-979F-E9E6946D5A18}" srcOrd="0" destOrd="0" presId="urn:microsoft.com/office/officeart/2005/8/layout/arrow4"/>
    <dgm:cxn modelId="{41F324EC-FE3E-4E65-B8DA-BB1DB06BA7A9}" type="presOf" srcId="{FDC51CA3-DE13-4AB1-92F8-CC379842FD44}" destId="{19A50BB9-1B2D-4062-BDF1-0777746F8E26}" srcOrd="0" destOrd="0" presId="urn:microsoft.com/office/officeart/2005/8/layout/arrow4"/>
    <dgm:cxn modelId="{12A89CEB-30A8-479F-A714-E377C9E6C568}" type="presParOf" srcId="{19A50BB9-1B2D-4062-BDF1-0777746F8E26}" destId="{96183721-021E-4A37-8A39-8772DD5DF626}" srcOrd="0" destOrd="0" presId="urn:microsoft.com/office/officeart/2005/8/layout/arrow4"/>
    <dgm:cxn modelId="{A41283FC-0F9E-407F-AD59-DCA3479A41A2}" type="presParOf" srcId="{19A50BB9-1B2D-4062-BDF1-0777746F8E26}" destId="{A9CE90B5-DAB4-419B-8F57-A268848F9C1A}" srcOrd="1" destOrd="0" presId="urn:microsoft.com/office/officeart/2005/8/layout/arrow4"/>
    <dgm:cxn modelId="{5169D3BC-8E05-4818-8DDB-8608F280B3E6}" type="presParOf" srcId="{19A50BB9-1B2D-4062-BDF1-0777746F8E26}" destId="{2B2F04DB-199F-4176-98A4-C3364E1C2FA9}" srcOrd="2" destOrd="0" presId="urn:microsoft.com/office/officeart/2005/8/layout/arrow4"/>
    <dgm:cxn modelId="{7B2DD01C-AB74-481E-8850-BACECD4F8422}" type="presParOf" srcId="{19A50BB9-1B2D-4062-BDF1-0777746F8E26}" destId="{DAD42CC0-A664-4DEC-979F-E9E6946D5A18}" srcOrd="3" destOrd="0" presId="urn:microsoft.com/office/officeart/2005/8/layout/arrow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8BBA62-672F-415B-B5E1-C90D81B60608}">
      <dsp:nvSpPr>
        <dsp:cNvPr id="0" name=""/>
        <dsp:cNvSpPr/>
      </dsp:nvSpPr>
      <dsp:spPr>
        <a:xfrm rot="10800000">
          <a:off x="1999813" y="1895"/>
          <a:ext cx="8117850" cy="124123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349" tIns="110490" rIns="206248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The COVID-19 situation is influencing customer behavior and, as a result, marketing strategies.</a:t>
          </a:r>
        </a:p>
      </dsp:txBody>
      <dsp:txXfrm rot="10800000">
        <a:off x="2310121" y="1895"/>
        <a:ext cx="7807542" cy="1241231"/>
      </dsp:txXfrm>
    </dsp:sp>
    <dsp:sp modelId="{8B58AB2E-4F90-4959-8C2B-E84180BEB22B}">
      <dsp:nvSpPr>
        <dsp:cNvPr id="0" name=""/>
        <dsp:cNvSpPr/>
      </dsp:nvSpPr>
      <dsp:spPr>
        <a:xfrm>
          <a:off x="1556472" y="1895"/>
          <a:ext cx="1241231" cy="1241231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627B9A-BDE6-462C-A165-97E4CD9DF5B7}">
      <dsp:nvSpPr>
        <dsp:cNvPr id="0" name=""/>
        <dsp:cNvSpPr/>
      </dsp:nvSpPr>
      <dsp:spPr>
        <a:xfrm rot="10800000">
          <a:off x="2084472" y="1602927"/>
          <a:ext cx="8004971" cy="132873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349" tIns="110490" rIns="206248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onsumers are being pushed to reconsider their objectives in life. </a:t>
          </a:r>
        </a:p>
      </dsp:txBody>
      <dsp:txXfrm rot="10800000">
        <a:off x="2416656" y="1602927"/>
        <a:ext cx="7672787" cy="1328738"/>
      </dsp:txXfrm>
    </dsp:sp>
    <dsp:sp modelId="{0B710467-9B99-4A3F-962B-C5EDCFB5EF32}">
      <dsp:nvSpPr>
        <dsp:cNvPr id="0" name=""/>
        <dsp:cNvSpPr/>
      </dsp:nvSpPr>
      <dsp:spPr>
        <a:xfrm>
          <a:off x="1584691" y="1646681"/>
          <a:ext cx="1241231" cy="1241231"/>
        </a:xfrm>
        <a:prstGeom prst="ellipse">
          <a:avLst/>
        </a:prstGeom>
        <a:blipFill>
          <a:blip xmlns:r="http://schemas.openxmlformats.org/officeDocument/2006/relationships" r:embed="rId2"/>
          <a:srcRect/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2D2BEB-486A-4A42-A5DF-8E7DCF177874}">
      <dsp:nvSpPr>
        <dsp:cNvPr id="0" name=""/>
        <dsp:cNvSpPr/>
      </dsp:nvSpPr>
      <dsp:spPr>
        <a:xfrm rot="10800000">
          <a:off x="2265725" y="3291466"/>
          <a:ext cx="7763300" cy="124123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349" tIns="110490" rIns="206248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 err="1"/>
            <a:t>Asignificant</a:t>
          </a:r>
          <a:r>
            <a:rPr lang="en-US" sz="2900" kern="1200" dirty="0"/>
            <a:t> influence on mobility behavior, Global Economy and wearable market.</a:t>
          </a:r>
        </a:p>
      </dsp:txBody>
      <dsp:txXfrm rot="10800000">
        <a:off x="2576033" y="3291466"/>
        <a:ext cx="7452992" cy="1241231"/>
      </dsp:txXfrm>
    </dsp:sp>
    <dsp:sp modelId="{5B202C31-B787-4FA8-ACC2-F419FC721C47}">
      <dsp:nvSpPr>
        <dsp:cNvPr id="0" name=""/>
        <dsp:cNvSpPr/>
      </dsp:nvSpPr>
      <dsp:spPr>
        <a:xfrm>
          <a:off x="1645109" y="3291466"/>
          <a:ext cx="1241231" cy="1241231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183721-021E-4A37-8A39-8772DD5DF626}">
      <dsp:nvSpPr>
        <dsp:cNvPr id="0" name=""/>
        <dsp:cNvSpPr/>
      </dsp:nvSpPr>
      <dsp:spPr>
        <a:xfrm>
          <a:off x="-7169" y="46720"/>
          <a:ext cx="508053" cy="1998061"/>
        </a:xfrm>
        <a:prstGeom prst="up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CE90B5-DAB4-419B-8F57-A268848F9C1A}">
      <dsp:nvSpPr>
        <dsp:cNvPr id="0" name=""/>
        <dsp:cNvSpPr/>
      </dsp:nvSpPr>
      <dsp:spPr>
        <a:xfrm>
          <a:off x="528191" y="0"/>
          <a:ext cx="2468861" cy="24884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0" rIns="213360" bIns="21336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 dirty="0">
            <a:solidFill>
              <a:schemeClr val="accent2">
                <a:lumMod val="75000"/>
              </a:schemeClr>
            </a:solidFill>
          </a:endParaRPr>
        </a:p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>
              <a:solidFill>
                <a:schemeClr val="accent2">
                  <a:lumMod val="75000"/>
                </a:schemeClr>
              </a:solidFill>
            </a:rPr>
            <a:t>Germany</a:t>
          </a:r>
          <a:r>
            <a:rPr lang="en-US" sz="3000" kern="1200" dirty="0">
              <a:solidFill>
                <a:schemeClr val="accent2">
                  <a:lumMod val="75000"/>
                </a:schemeClr>
              </a:solidFill>
            </a:rPr>
            <a:t> </a:t>
          </a:r>
          <a:r>
            <a:rPr lang="en-US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hows use of </a:t>
          </a:r>
          <a:r>
            <a:rPr lang="en-US" sz="3200" kern="1200" dirty="0">
              <a:solidFill>
                <a:srgbClr val="ED7D31">
                  <a:lumMod val="75000"/>
                </a:srgbClr>
              </a:solidFill>
              <a:latin typeface="Calibri" panose="020F0502020204030204"/>
              <a:ea typeface="+mn-ea"/>
              <a:cs typeface="+mn-cs"/>
            </a:rPr>
            <a:t>Public transport </a:t>
          </a:r>
          <a:r>
            <a:rPr lang="en-US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the most.</a:t>
          </a:r>
        </a:p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528191" y="0"/>
        <a:ext cx="2468861" cy="2488463"/>
      </dsp:txXfrm>
    </dsp:sp>
    <dsp:sp modelId="{2B2F04DB-199F-4176-98A4-C3364E1C2FA9}">
      <dsp:nvSpPr>
        <dsp:cNvPr id="0" name=""/>
        <dsp:cNvSpPr/>
      </dsp:nvSpPr>
      <dsp:spPr>
        <a:xfrm>
          <a:off x="320210" y="2716003"/>
          <a:ext cx="491273" cy="2227846"/>
        </a:xfrm>
        <a:prstGeom prst="down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D42CC0-A664-4DEC-979F-E9E6946D5A18}">
      <dsp:nvSpPr>
        <dsp:cNvPr id="0" name=""/>
        <dsp:cNvSpPr/>
      </dsp:nvSpPr>
      <dsp:spPr>
        <a:xfrm>
          <a:off x="736789" y="2649126"/>
          <a:ext cx="2493511" cy="24884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8920" tIns="0" rIns="248920" bIns="24892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>
              <a:solidFill>
                <a:schemeClr val="accent2">
                  <a:lumMod val="75000"/>
                </a:schemeClr>
              </a:solidFill>
            </a:rPr>
            <a:t>Brazil 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hows </a:t>
          </a:r>
          <a:r>
            <a:rPr lang="de-DE" sz="24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the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least </a:t>
          </a:r>
          <a:r>
            <a:rPr lang="de-DE" sz="24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use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of Private </a:t>
          </a:r>
          <a:r>
            <a:rPr lang="de-DE" sz="3500" kern="1200" dirty="0">
              <a:solidFill>
                <a:srgbClr val="ED7D31">
                  <a:lumMod val="75000"/>
                </a:srgbClr>
              </a:solidFill>
              <a:latin typeface="Calibri" panose="020F0502020204030204"/>
              <a:ea typeface="+mn-ea"/>
              <a:cs typeface="+mn-cs"/>
            </a:rPr>
            <a:t>Cars</a:t>
          </a:r>
          <a:r>
            <a:rPr lang="en-US" sz="35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.</a:t>
          </a:r>
          <a:endParaRPr lang="en-US" sz="3500" kern="1200" dirty="0">
            <a:solidFill>
              <a:srgbClr val="ED7D31">
                <a:lumMod val="75000"/>
              </a:srgbClr>
            </a:solidFill>
            <a:latin typeface="Calibri" panose="020F0502020204030204"/>
            <a:ea typeface="+mn-ea"/>
            <a:cs typeface="+mn-cs"/>
          </a:endParaRPr>
        </a:p>
      </dsp:txBody>
      <dsp:txXfrm>
        <a:off x="736789" y="2649126"/>
        <a:ext cx="2493511" cy="24884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183721-021E-4A37-8A39-8772DD5DF626}">
      <dsp:nvSpPr>
        <dsp:cNvPr id="0" name=""/>
        <dsp:cNvSpPr/>
      </dsp:nvSpPr>
      <dsp:spPr>
        <a:xfrm>
          <a:off x="145118" y="0"/>
          <a:ext cx="860052" cy="2600960"/>
        </a:xfrm>
        <a:prstGeom prst="up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CE90B5-DAB4-419B-8F57-A268848F9C1A}">
      <dsp:nvSpPr>
        <dsp:cNvPr id="0" name=""/>
        <dsp:cNvSpPr/>
      </dsp:nvSpPr>
      <dsp:spPr>
        <a:xfrm>
          <a:off x="1333569" y="0"/>
          <a:ext cx="2428344" cy="2600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0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A Shift to use Private </a:t>
          </a:r>
          <a:r>
            <a:rPr lang="de-DE" sz="3200" kern="1200" dirty="0">
              <a:solidFill>
                <a:schemeClr val="accent4">
                  <a:lumMod val="75000"/>
                </a:schemeClr>
              </a:solidFill>
            </a:rPr>
            <a:t>Cars</a:t>
          </a:r>
          <a:r>
            <a:rPr lang="de-DE" sz="2400" kern="1200" dirty="0"/>
            <a:t> in The </a:t>
          </a:r>
          <a:r>
            <a:rPr lang="de-DE" sz="3200" kern="1200" dirty="0">
              <a:solidFill>
                <a:schemeClr val="accent4">
                  <a:lumMod val="75000"/>
                </a:schemeClr>
              </a:solidFill>
            </a:rPr>
            <a:t>US</a:t>
          </a:r>
          <a:r>
            <a:rPr lang="de-DE" sz="2400" kern="1200" dirty="0"/>
            <a:t> and </a:t>
          </a:r>
          <a:r>
            <a:rPr lang="de-DE" sz="3200" kern="1200" dirty="0">
              <a:solidFill>
                <a:schemeClr val="accent4">
                  <a:lumMod val="75000"/>
                </a:schemeClr>
              </a:solidFill>
            </a:rPr>
            <a:t>Germany</a:t>
          </a:r>
          <a:endParaRPr lang="en-US" sz="3200" kern="1200" dirty="0">
            <a:solidFill>
              <a:schemeClr val="accent4">
                <a:lumMod val="75000"/>
              </a:schemeClr>
            </a:solidFill>
          </a:endParaRPr>
        </a:p>
      </dsp:txBody>
      <dsp:txXfrm>
        <a:off x="1333569" y="0"/>
        <a:ext cx="2428344" cy="2600960"/>
      </dsp:txXfrm>
    </dsp:sp>
    <dsp:sp modelId="{2B2F04DB-199F-4176-98A4-C3364E1C2FA9}">
      <dsp:nvSpPr>
        <dsp:cNvPr id="0" name=""/>
        <dsp:cNvSpPr/>
      </dsp:nvSpPr>
      <dsp:spPr>
        <a:xfrm>
          <a:off x="593891" y="2817706"/>
          <a:ext cx="821101" cy="2600960"/>
        </a:xfrm>
        <a:prstGeom prst="down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D42CC0-A664-4DEC-979F-E9E6946D5A18}">
      <dsp:nvSpPr>
        <dsp:cNvPr id="0" name=""/>
        <dsp:cNvSpPr/>
      </dsp:nvSpPr>
      <dsp:spPr>
        <a:xfrm>
          <a:off x="1365054" y="2508998"/>
          <a:ext cx="2428344" cy="26009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8920" tIns="0" rIns="248920" bIns="24892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>
              <a:solidFill>
                <a:schemeClr val="accent4">
                  <a:lumMod val="75000"/>
                </a:schemeClr>
              </a:solidFill>
            </a:rPr>
            <a:t>Brazil</a:t>
          </a:r>
          <a:r>
            <a:rPr lang="de-DE" sz="3500" kern="1200" dirty="0">
              <a:solidFill>
                <a:schemeClr val="accent2">
                  <a:lumMod val="75000"/>
                </a:schemeClr>
              </a:solidFill>
            </a:rPr>
            <a:t> 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hows less</a:t>
          </a:r>
          <a:r>
            <a:rPr lang="ar-EG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de-DE" sz="2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use of Private Cars</a:t>
          </a:r>
          <a:endParaRPr lang="en-US" sz="24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</dsp:txBody>
      <dsp:txXfrm>
        <a:off x="1365054" y="2508998"/>
        <a:ext cx="2428344" cy="26009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4">
  <dgm:title val=""/>
  <dgm:desc val=""/>
  <dgm:catLst>
    <dgm:cat type="relationship" pri="8000"/>
    <dgm:cat type="process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b" for="ch" forName="upArrowText" refType="h" fact="0.48"/>
              <dgm:constr type="l" for="ch" forName="upArrowText" refType="w" refFor="ch" refForName="upArrow" fact="1.03"/>
            </dgm:constrLst>
          </dgm:if>
          <dgm:else name="Name4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b" for="ch" forName="upArrowText" refType="h" fact="0.48"/>
              <dgm:constr type="l" for="ch" forName="upArrowText" refType="w" refFor="ch" refForName="upArrow" fact="1.03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refFor="ch" refForName="downArrow" fact="0.3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 refType="w" refFor="ch" refForName="downArrow" fact="1.33"/>
            </dgm:constrLst>
          </dgm:else>
        </dgm:choose>
      </dgm:if>
      <dgm:else name="Name5">
        <dgm:choose name="Name6">
          <dgm:if name="Name7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t" for="ch" forName="upArrowText"/>
              <dgm:constr type="l" for="ch" forName="upArrowText" refType="w" fact="0.1"/>
            </dgm:constrLst>
          </dgm:if>
          <dgm:else name="Name8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t" for="ch" forName="upArrowText"/>
              <dgm:constr type="l" for="ch" forName="upArrowText" refType="w" fact="0.1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fact="0.57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/>
            </dgm:constrLst>
          </dgm:else>
        </dgm:choose>
      </dgm:else>
    </dgm:choose>
    <dgm:ruleLst/>
    <dgm:forEach name="Name9" axis="ch" ptType="node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chMax val="0"/>
          <dgm:bulletEnabled val="1"/>
        </dgm:varLst>
        <dgm:choose name="Name10">
          <dgm:if name="Name1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2">
            <dgm:choose name="Name13">
              <dgm:if name="Name14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15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  <dgm:forEach name="Name16" axis="ch" ptType="node" st="2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chMax val="0"/>
          <dgm:bulletEnabled val="1"/>
        </dgm:varLst>
        <dgm:choose name="Name17">
          <dgm:if name="Name18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9">
            <dgm:choose name="Name20">
              <dgm:if name="Name21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22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4">
  <dgm:title val=""/>
  <dgm:desc val=""/>
  <dgm:catLst>
    <dgm:cat type="relationship" pri="8000"/>
    <dgm:cat type="process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b" for="ch" forName="upArrowText" refType="h" fact="0.48"/>
              <dgm:constr type="l" for="ch" forName="upArrowText" refType="w" refFor="ch" refForName="upArrow" fact="1.03"/>
            </dgm:constrLst>
          </dgm:if>
          <dgm:else name="Name4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b" for="ch" forName="upArrowText" refType="h" fact="0.48"/>
              <dgm:constr type="l" for="ch" forName="upArrowText" refType="w" refFor="ch" refForName="upArrow" fact="1.03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refFor="ch" refForName="downArrow" fact="0.3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 refType="w" refFor="ch" refForName="downArrow" fact="1.33"/>
            </dgm:constrLst>
          </dgm:else>
        </dgm:choose>
      </dgm:if>
      <dgm:else name="Name5">
        <dgm:choose name="Name6">
          <dgm:if name="Name7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t" for="ch" forName="upArrowText"/>
              <dgm:constr type="l" for="ch" forName="upArrowText" refType="w" fact="0.1"/>
            </dgm:constrLst>
          </dgm:if>
          <dgm:else name="Name8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t" for="ch" forName="upArrowText"/>
              <dgm:constr type="l" for="ch" forName="upArrowText" refType="w" fact="0.1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fact="0.57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/>
            </dgm:constrLst>
          </dgm:else>
        </dgm:choose>
      </dgm:else>
    </dgm:choose>
    <dgm:ruleLst/>
    <dgm:forEach name="Name9" axis="ch" ptType="node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chMax val="0"/>
          <dgm:bulletEnabled val="1"/>
        </dgm:varLst>
        <dgm:choose name="Name10">
          <dgm:if name="Name1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2">
            <dgm:choose name="Name13">
              <dgm:if name="Name14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15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  <dgm:forEach name="Name16" axis="ch" ptType="node" st="2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chMax val="0"/>
          <dgm:bulletEnabled val="1"/>
        </dgm:varLst>
        <dgm:choose name="Name17">
          <dgm:if name="Name18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9">
            <dgm:choose name="Name20">
              <dgm:if name="Name21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22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A6F955-A544-4213-86CE-38E5B2A04F1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80F219-38B4-48D6-91C0-370B0FBEA3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31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muza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arketing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Carlos </a:t>
            </a:r>
            <a:r>
              <a:rPr lang="en-US" dirty="0" err="1">
                <a:hlinkClick r:id="rId3"/>
              </a:rPr>
              <a:t>Muz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A5D041-9B10-49AC-80AD-4717987A2E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418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ee Photos to use from </a:t>
            </a:r>
            <a:r>
              <a:rPr lang="en-US" dirty="0" err="1"/>
              <a:t>Unsplash</a:t>
            </a:r>
            <a:r>
              <a:rPr lang="en-US" dirty="0"/>
              <a:t> and </a:t>
            </a:r>
            <a:r>
              <a:rPr lang="en-US" dirty="0" err="1"/>
              <a:t>Pixab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80F219-38B4-48D6-91C0-370B0FBEA39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031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Business Wire T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chnavio . (2020). Wearable Medical Devices Market Size Projection. Retrieved June 23, 2021, from </a:t>
            </a:r>
            <a:r>
              <a:rPr lang="en-US" sz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inesswire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https://www.businesswire.com/news/home/20201104005367/en/Wearable-Medical-Devices-Market-Size-Projection-Growth-Value-Sales-Statistics-Share-Analysis-and-COVID-19-Impact-Analysis-by-2024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80F219-38B4-48D6-91C0-370B0FBEA39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333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80F219-38B4-48D6-91C0-370B0FBEA39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860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3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92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62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569770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149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7559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779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84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9831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D584B-3C0C-408F-86A6-B7A1F0C80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F81F2-FA0A-4E3B-987D-C02985B436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24EE29-D60A-4935-8ACB-17F56B4F2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532A02-9188-431C-8B96-71B1A85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C46C68-833A-43A8-A7AA-35803F1A0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063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56D08-B121-41C3-9249-74089F9E0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56A2A4-B9E3-4E5B-BD70-9CA449733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ADD3EB-38F4-493D-89A9-47E5A579D4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17DE71-28E5-4F1F-82AF-8F1AF9738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05D165-D269-497E-932C-2111BDA0C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7CE2C8-65DB-4B01-B06D-D996B6995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98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8408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7F784-07A5-4C86-90DF-B307664CA7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24BDF3-93C7-4DC6-911A-930EE91B31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02535E-185E-4A78-AD01-1F29CABDD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F78165-8744-41B7-AC65-E29717BAF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B514EC-155C-41D9-903C-2AB171BB7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643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D584B-3C0C-408F-86A6-B7A1F0C80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F81F2-FA0A-4E3B-987D-C02985B436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24EE29-D60A-4935-8ACB-17F56B4F2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532A02-9188-431C-8B96-71B1A85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C46C68-833A-43A8-A7AA-35803F1A0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7915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02BD5-7200-4D57-BF10-F4676407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D9C932-F13E-4E67-B19D-8EF3C79F5C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2C3FE-9D79-44D2-A244-6BC7606F8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6A1BB-19B7-42EB-AF0B-32E391CC9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2A46CC-3574-4091-861D-6C7BE6DA2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8555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A70E9-C394-454C-8514-D831B06CC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915EE-F53A-434E-B598-57DB05C082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A2615A-EEB1-4991-BA95-3D66D1940F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47DD60-29E5-45FF-9A3C-D50FF04241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F5D128-8E90-4138-857F-7D2988973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67E8B9-DD1A-4456-A34B-173DA8F4D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9812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FD2F2-8709-4CBF-8B56-D75E2530A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36B76-407B-492F-8BD4-8FC635111B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F835D9-550F-4C18-A21E-6C73219BE5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1FF7C0-C894-42BB-959C-4975E0640D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A5874D-CAEE-4E30-9A22-E40BB06326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E76E47F-41EE-4043-9C29-F99BCD8A7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0E9A00-627A-45A3-A6AF-5615D1873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1E874E-3D5E-42DD-B8E3-68FA78A7D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68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EFC47-AD4B-400B-9369-B07F940F0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336466-F6D5-4AD0-81FF-91C84E389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F2DBE4-78E0-472D-BF5A-957E92569B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379CE5-E4DB-47A4-92B3-6F3CD8DBF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722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8A85BC-B94B-4478-AED9-7093DA623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494EB7-7E65-49C7-8A5D-C67FAB4B1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9DCBD3-32B7-4102-A5B4-F6F5DDC09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3610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56D08-B121-41C3-9249-74089F9E0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56A2A4-B9E3-4E5B-BD70-9CA449733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ADD3EB-38F4-493D-89A9-47E5A579D4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17DE71-28E5-4F1F-82AF-8F1AF9738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05D165-D269-497E-932C-2111BDA0C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7CE2C8-65DB-4B01-B06D-D996B6995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998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869E3-A893-493F-B5C0-CFEA54369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FD124A-7C1A-4195-94C5-D7F9D5CA9C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9622F1-42A7-434D-ACCD-07749AA5B0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01C790-D0E2-401B-B6BA-FE16F64A0E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CA1031-9B01-4AFF-B611-8EED18F85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8BB7C7-700E-4A43-99BA-6C6DFCA92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0306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1C301-96EE-4CBB-9F71-B36D2B5BD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AA2589-C3A9-4099-8821-4BD8240F18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348AE4-D8C9-4675-BAD9-0E470BDB2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32A638-C27F-4BAB-9494-5A7FE5948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50B54E-9871-45F5-9609-3C209E159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761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5135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749396-89DC-4EFE-8CE0-38A2F5DCE0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7F8B2E-A589-4668-85D8-682A5DDCDB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C1D41C-3500-49C5-B90A-B5A4D8861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24E4C-1CF4-496E-94AB-F3E43923E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20A1B5-E6C5-4BF6-99AA-09AFA7C86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957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49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394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630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583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863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04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1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154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715238-E7F3-4795-B85C-6D93DC1BE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B02F5A-D7D3-4E85-9A3E-53198699A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684A9-CC6C-45F4-AAAE-4168B51FF1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C69447-861E-402C-A7F1-CB43A35268A2}" type="datetimeFigureOut">
              <a:rPr lang="en-US" smtClean="0"/>
              <a:t>8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DCB4E-CC49-4C8D-9CBE-CAA2A04EE4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CA77FB-4BBF-4D7F-9033-307AC21DD6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C30B0-F472-4440-8849-5D0F35F16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530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indoor, computer, computer&#10;&#10;Description automatically generated">
            <a:extLst>
              <a:ext uri="{FF2B5EF4-FFF2-40B4-BE49-F238E27FC236}">
                <a16:creationId xmlns:a16="http://schemas.microsoft.com/office/drawing/2014/main" id="{45356753-1F86-4C74-91C3-45D8B0C75A4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93" t="9042" r="12137" b="39659"/>
          <a:stretch/>
        </p:blipFill>
        <p:spPr>
          <a:xfrm>
            <a:off x="0" y="1122363"/>
            <a:ext cx="12192000" cy="5735637"/>
          </a:xfrm>
          <a:prstGeom prst="rect">
            <a:avLst/>
          </a:prstGeom>
        </p:spPr>
      </p:pic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74430D11-1E3E-4352-AE88-3796EF573325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152839"/>
              </a:gs>
              <a:gs pos="0">
                <a:srgbClr val="152839">
                  <a:lumMod val="100000"/>
                  <a:alpha val="78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134B2A-9B51-4658-95A5-24C93F8D75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1134B2A-9B51-4658-95A5-24C93F8D75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EF8C3237-8A16-4865-BDFF-7D0EA3466584}"/>
              </a:ext>
            </a:extLst>
          </p:cNvPr>
          <p:cNvSpPr/>
          <p:nvPr/>
        </p:nvSpPr>
        <p:spPr>
          <a:xfrm>
            <a:off x="7175501" y="291829"/>
            <a:ext cx="4616449" cy="5778501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01893F"/>
              </a:gs>
              <a:gs pos="100000">
                <a:srgbClr val="2E587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2341E7F-2C7A-488B-9DAA-477EAF569504}"/>
              </a:ext>
            </a:extLst>
          </p:cNvPr>
          <p:cNvCxnSpPr>
            <a:cxnSpLocks/>
          </p:cNvCxnSpPr>
          <p:nvPr/>
        </p:nvCxnSpPr>
        <p:spPr>
          <a:xfrm>
            <a:off x="610508" y="5382081"/>
            <a:ext cx="65649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8B4AFFA-181C-4438-8D5E-9F063A50FF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01004" y="2317856"/>
            <a:ext cx="3727450" cy="3106893"/>
          </a:xfrm>
        </p:spPr>
        <p:txBody>
          <a:bodyPr vert="horz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5400" dirty="0">
                <a:solidFill>
                  <a:schemeClr val="bg1"/>
                </a:solidFill>
              </a:rPr>
              <a:t>Impact of Covid Data in mobility and  Wearable market</a:t>
            </a: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CA35825E-2683-4155-8668-69AD85447946}"/>
              </a:ext>
            </a:extLst>
          </p:cNvPr>
          <p:cNvSpPr/>
          <p:nvPr/>
        </p:nvSpPr>
        <p:spPr>
          <a:xfrm>
            <a:off x="610508" y="3720143"/>
            <a:ext cx="6096000" cy="166193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01893F"/>
              </a:gs>
              <a:gs pos="100000">
                <a:srgbClr val="2E587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pared by : Mohammed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belbes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 the supervision of Prof. Dr. : Javier Valdes</a:t>
            </a:r>
          </a:p>
        </p:txBody>
      </p:sp>
    </p:spTree>
    <p:extLst>
      <p:ext uri="{BB962C8B-B14F-4D97-AF65-F5344CB8AC3E}">
        <p14:creationId xmlns:p14="http://schemas.microsoft.com/office/powerpoint/2010/main" val="102960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47AAF-610B-4B14-8010-5827647D1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5000" dirty="0">
                <a:solidFill>
                  <a:schemeClr val="accent4">
                    <a:lumMod val="50000"/>
                  </a:schemeClr>
                </a:solidFill>
              </a:rPr>
              <a:t>Table of 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19A7E3-3B9B-432B-9269-CB88BF6161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2367093"/>
            <a:ext cx="10364452" cy="3872390"/>
          </a:xfrm>
        </p:spPr>
        <p:txBody>
          <a:bodyPr/>
          <a:lstStyle/>
          <a:p>
            <a:r>
              <a:rPr lang="en-US" sz="3000" dirty="0"/>
              <a:t>Introduction to the situation and the problem.  </a:t>
            </a:r>
          </a:p>
          <a:p>
            <a:r>
              <a:rPr lang="en-US" sz="3000" dirty="0"/>
              <a:t>Investigating the potential markets.</a:t>
            </a:r>
          </a:p>
          <a:p>
            <a:r>
              <a:rPr lang="en-US" sz="3000" dirty="0"/>
              <a:t>Results and Discussion.  </a:t>
            </a:r>
          </a:p>
          <a:p>
            <a:r>
              <a:rPr lang="en-US" sz="3000" dirty="0"/>
              <a:t>Conclusion and recommended actions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22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66B81-7005-450D-A39B-1A7CA10E5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4103"/>
            <a:ext cx="10515600" cy="1325563"/>
          </a:xfrm>
        </p:spPr>
        <p:txBody>
          <a:bodyPr>
            <a:normAutofit/>
          </a:bodyPr>
          <a:lstStyle/>
          <a:p>
            <a:pPr algn="l"/>
            <a:r>
              <a:rPr lang="en-US" sz="5000" dirty="0">
                <a:solidFill>
                  <a:schemeClr val="accent4">
                    <a:lumMod val="50000"/>
                  </a:schemeClr>
                </a:solidFill>
              </a:rPr>
              <a:t>Introduction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A5942EB-764D-46AB-92B8-806C9742EE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7681957"/>
              </p:ext>
            </p:extLst>
          </p:nvPr>
        </p:nvGraphicFramePr>
        <p:xfrm>
          <a:off x="275208" y="1619666"/>
          <a:ext cx="11674136" cy="4534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57268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chemeClr val="bg1">
                <a:tint val="90000"/>
                <a:lumMod val="110000"/>
              </a:schemeClr>
            </a:gs>
            <a:gs pos="100000">
              <a:schemeClr val="bg1">
                <a:shade val="64000"/>
                <a:lumMod val="88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4B8BFC4-4B1A-4A21-AB01-9259C24557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3335"/>
            <a:ext cx="8371643" cy="49596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57C680-5022-432C-BF9F-4A5859AC3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37" y="146465"/>
            <a:ext cx="10419945" cy="954628"/>
          </a:xfrm>
        </p:spPr>
        <p:txBody>
          <a:bodyPr>
            <a:noAutofit/>
          </a:bodyPr>
          <a:lstStyle/>
          <a:p>
            <a:pPr algn="l"/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Investigating the potential markets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EB8B6098-EDC2-41B8-8856-A107CC3F79C1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62251997"/>
              </p:ext>
            </p:extLst>
          </p:nvPr>
        </p:nvGraphicFramePr>
        <p:xfrm>
          <a:off x="8859915" y="1713391"/>
          <a:ext cx="3332085" cy="5184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68623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1E655EA-54B9-4F68-B2BD-2BB2295B3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61" y="98420"/>
            <a:ext cx="10382838" cy="685775"/>
          </a:xfrm>
        </p:spPr>
        <p:txBody>
          <a:bodyPr>
            <a:noAutofit/>
          </a:bodyPr>
          <a:lstStyle/>
          <a:p>
            <a:pPr algn="l"/>
            <a:r>
              <a:rPr lang="en-US" sz="4400" dirty="0">
                <a:solidFill>
                  <a:schemeClr val="accent4">
                    <a:lumMod val="50000"/>
                  </a:schemeClr>
                </a:solidFill>
              </a:rPr>
              <a:t>Results and Discuss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EA7A5F6-1C4C-4182-ADAE-27449F7515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779390" y="1162877"/>
            <a:ext cx="7412609" cy="547280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793035F-3A95-45F8-8A09-6451CBB67F59}"/>
              </a:ext>
            </a:extLst>
          </p:cNvPr>
          <p:cNvGrpSpPr/>
          <p:nvPr/>
        </p:nvGrpSpPr>
        <p:grpSpPr>
          <a:xfrm>
            <a:off x="142672" y="1791092"/>
            <a:ext cx="4455960" cy="2665991"/>
            <a:chOff x="1031809" y="3956466"/>
            <a:chExt cx="4765303" cy="145545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301D2A3-C9E9-4816-B725-E5FE2A0B6CAA}"/>
                </a:ext>
              </a:extLst>
            </p:cNvPr>
            <p:cNvGrpSpPr/>
            <p:nvPr/>
          </p:nvGrpSpPr>
          <p:grpSpPr>
            <a:xfrm>
              <a:off x="1031809" y="4641750"/>
              <a:ext cx="4765303" cy="770168"/>
              <a:chOff x="956839" y="4311849"/>
              <a:chExt cx="4765303" cy="770168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AAA42C9-EE5B-49A5-B125-4007724805EA}"/>
                  </a:ext>
                </a:extLst>
              </p:cNvPr>
              <p:cNvSpPr txBox="1"/>
              <p:nvPr/>
            </p:nvSpPr>
            <p:spPr>
              <a:xfrm>
                <a:off x="3964132" y="4374143"/>
                <a:ext cx="1758010" cy="5040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000" b="1" dirty="0">
                    <a:solidFill>
                      <a:schemeClr val="accent2">
                        <a:lumMod val="75000"/>
                      </a:schemeClr>
                    </a:solidFill>
                  </a:rPr>
                  <a:t>76%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470F699-393A-4C03-9EDF-C71EFB360F6F}"/>
                  </a:ext>
                </a:extLst>
              </p:cNvPr>
              <p:cNvSpPr txBox="1"/>
              <p:nvPr/>
            </p:nvSpPr>
            <p:spPr>
              <a:xfrm>
                <a:off x="956839" y="4311849"/>
                <a:ext cx="2588306" cy="7701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2400" dirty="0">
                    <a:solidFill>
                      <a:srgbClr val="30353F"/>
                    </a:solidFill>
                  </a:rPr>
                  <a:t>experienced the  greatest fall by </a:t>
                </a:r>
              </a:p>
              <a:p>
                <a:pPr algn="r"/>
                <a:r>
                  <a:rPr lang="en-US" sz="2400" dirty="0">
                    <a:solidFill>
                      <a:srgbClr val="30353F"/>
                    </a:solidFill>
                  </a:rPr>
                  <a:t>In April  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C6C6344-6F2D-48DA-80BC-F4B1B1604C21}"/>
                </a:ext>
              </a:extLst>
            </p:cNvPr>
            <p:cNvSpPr txBox="1"/>
            <p:nvPr/>
          </p:nvSpPr>
          <p:spPr>
            <a:xfrm>
              <a:off x="2069843" y="3956466"/>
              <a:ext cx="3098815" cy="3743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tabLst>
                  <a:tab pos="347663" algn="l"/>
                </a:tabLst>
              </a:pPr>
              <a:r>
                <a:rPr lang="en-US" sz="3500" dirty="0">
                  <a:solidFill>
                    <a:schemeClr val="accent2">
                      <a:lumMod val="75000"/>
                    </a:schemeClr>
                  </a:solidFill>
                  <a:latin typeface="+mj-lt"/>
                </a:rPr>
                <a:t>Public Transport</a:t>
              </a:r>
            </a:p>
          </p:txBody>
        </p:sp>
      </p:grp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E8EECA0F-5085-455A-B331-904E3BC7F6FC}"/>
              </a:ext>
            </a:extLst>
          </p:cNvPr>
          <p:cNvSpPr/>
          <p:nvPr/>
        </p:nvSpPr>
        <p:spPr>
          <a:xfrm rot="5400000">
            <a:off x="1707283" y="3557890"/>
            <a:ext cx="2107272" cy="3876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964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F4BF0C2-B245-4EEA-A58E-554A83411A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3854880"/>
              </p:ext>
            </p:extLst>
          </p:nvPr>
        </p:nvGraphicFramePr>
        <p:xfrm>
          <a:off x="179109" y="457200"/>
          <a:ext cx="433633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4" name="Content Placeholder 23">
            <a:extLst>
              <a:ext uri="{FF2B5EF4-FFF2-40B4-BE49-F238E27FC236}">
                <a16:creationId xmlns:a16="http://schemas.microsoft.com/office/drawing/2014/main" id="{9D766DAB-9DE7-40BA-B6E2-817BDEC0AB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879064" y="641021"/>
            <a:ext cx="8312936" cy="5653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136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EE39BA-1937-474B-8BD0-03D0605BFD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6400799"/>
            <a:ext cx="12192000" cy="386499"/>
          </a:xfrm>
        </p:spPr>
        <p:txBody>
          <a:bodyPr>
            <a:normAutofit lnSpcReduction="10000"/>
          </a:bodyPr>
          <a:lstStyle/>
          <a:p>
            <a:pPr algn="ctr"/>
            <a:r>
              <a:rPr lang="en-US" sz="1800" b="0" i="0" dirty="0">
                <a:solidFill>
                  <a:schemeClr val="tx1"/>
                </a:solidFill>
                <a:effectLst/>
                <a:latin typeface="Helvetica Neue"/>
              </a:rPr>
              <a:t>Global Wearable Medical Devices Market </a:t>
            </a:r>
            <a:r>
              <a:rPr lang="en-US" sz="1600" i="0" dirty="0">
                <a:solidFill>
                  <a:schemeClr val="tx1"/>
                </a:solidFill>
                <a:effectLst/>
                <a:latin typeface="Helvetica Neue"/>
              </a:rPr>
              <a:t>(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iness Wire T</a:t>
            </a:r>
            <a:r>
              <a:rPr lang="en-US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chnavio 2020)</a:t>
            </a:r>
            <a:r>
              <a:rPr lang="en-US" sz="1600" baseline="30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326A800-9391-4D18-809C-7F351867D1D3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"/>
          <a:stretch/>
        </p:blipFill>
        <p:spPr bwMode="auto">
          <a:xfrm>
            <a:off x="0" y="0"/>
            <a:ext cx="12192000" cy="640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6636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Oval 74"/>
          <p:cNvSpPr/>
          <p:nvPr/>
        </p:nvSpPr>
        <p:spPr>
          <a:xfrm>
            <a:off x="9443776" y="2225546"/>
            <a:ext cx="2367224" cy="2367218"/>
          </a:xfrm>
          <a:prstGeom prst="ellipse">
            <a:avLst/>
          </a:prstGeom>
          <a:solidFill>
            <a:srgbClr val="667181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0" y="3440290"/>
            <a:ext cx="11025188" cy="50668"/>
          </a:xfrm>
          <a:prstGeom prst="rect">
            <a:avLst/>
          </a:prstGeom>
          <a:solidFill>
            <a:srgbClr val="303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/>
          <p:cNvSpPr/>
          <p:nvPr/>
        </p:nvSpPr>
        <p:spPr>
          <a:xfrm>
            <a:off x="9829561" y="2611330"/>
            <a:ext cx="1595654" cy="1595650"/>
          </a:xfrm>
          <a:prstGeom prst="ellipse">
            <a:avLst/>
          </a:prstGeom>
          <a:solidFill>
            <a:srgbClr val="30353F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10299341" y="3028467"/>
            <a:ext cx="656095" cy="761376"/>
            <a:chOff x="-1892703" y="1944681"/>
            <a:chExt cx="3284538" cy="3811588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-1892703" y="1944681"/>
              <a:ext cx="3284538" cy="3811588"/>
            </a:xfrm>
            <a:custGeom>
              <a:avLst/>
              <a:gdLst>
                <a:gd name="T0" fmla="*/ 1611 w 1764"/>
                <a:gd name="T1" fmla="*/ 145 h 2048"/>
                <a:gd name="T2" fmla="*/ 1468 w 1764"/>
                <a:gd name="T3" fmla="*/ 100 h 2048"/>
                <a:gd name="T4" fmla="*/ 397 w 1764"/>
                <a:gd name="T5" fmla="*/ 0 h 2048"/>
                <a:gd name="T6" fmla="*/ 296 w 1764"/>
                <a:gd name="T7" fmla="*/ 145 h 2048"/>
                <a:gd name="T8" fmla="*/ 40 w 1764"/>
                <a:gd name="T9" fmla="*/ 197 h 2048"/>
                <a:gd name="T10" fmla="*/ 397 w 1764"/>
                <a:gd name="T11" fmla="*/ 863 h 2048"/>
                <a:gd name="T12" fmla="*/ 735 w 1764"/>
                <a:gd name="T13" fmla="*/ 1251 h 2048"/>
                <a:gd name="T14" fmla="*/ 567 w 1764"/>
                <a:gd name="T15" fmla="*/ 1483 h 2048"/>
                <a:gd name="T16" fmla="*/ 531 w 1764"/>
                <a:gd name="T17" fmla="*/ 1746 h 2048"/>
                <a:gd name="T18" fmla="*/ 301 w 1764"/>
                <a:gd name="T19" fmla="*/ 1888 h 2048"/>
                <a:gd name="T20" fmla="*/ 348 w 1764"/>
                <a:gd name="T21" fmla="*/ 2048 h 2048"/>
                <a:gd name="T22" fmla="*/ 1468 w 1764"/>
                <a:gd name="T23" fmla="*/ 2001 h 2048"/>
                <a:gd name="T24" fmla="*/ 1325 w 1764"/>
                <a:gd name="T25" fmla="*/ 1746 h 2048"/>
                <a:gd name="T26" fmla="*/ 1237 w 1764"/>
                <a:gd name="T27" fmla="*/ 1529 h 2048"/>
                <a:gd name="T28" fmla="*/ 1200 w 1764"/>
                <a:gd name="T29" fmla="*/ 1482 h 2048"/>
                <a:gd name="T30" fmla="*/ 1303 w 1764"/>
                <a:gd name="T31" fmla="*/ 992 h 2048"/>
                <a:gd name="T32" fmla="*/ 1757 w 1764"/>
                <a:gd name="T33" fmla="*/ 316 h 2048"/>
                <a:gd name="T34" fmla="*/ 101 w 1764"/>
                <a:gd name="T35" fmla="*/ 301 h 2048"/>
                <a:gd name="T36" fmla="*/ 153 w 1764"/>
                <a:gd name="T37" fmla="*/ 240 h 2048"/>
                <a:gd name="T38" fmla="*/ 296 w 1764"/>
                <a:gd name="T39" fmla="*/ 327 h 2048"/>
                <a:gd name="T40" fmla="*/ 101 w 1764"/>
                <a:gd name="T41" fmla="*/ 301 h 2048"/>
                <a:gd name="T42" fmla="*/ 1373 w 1764"/>
                <a:gd name="T43" fmla="*/ 1888 h 2048"/>
                <a:gd name="T44" fmla="*/ 396 w 1764"/>
                <a:gd name="T45" fmla="*/ 1953 h 2048"/>
                <a:gd name="T46" fmla="*/ 443 w 1764"/>
                <a:gd name="T47" fmla="*/ 1841 h 2048"/>
                <a:gd name="T48" fmla="*/ 1143 w 1764"/>
                <a:gd name="T49" fmla="*/ 1576 h 2048"/>
                <a:gd name="T50" fmla="*/ 626 w 1764"/>
                <a:gd name="T51" fmla="*/ 1746 h 2048"/>
                <a:gd name="T52" fmla="*/ 1143 w 1764"/>
                <a:gd name="T53" fmla="*/ 1576 h 2048"/>
                <a:gd name="T54" fmla="*/ 782 w 1764"/>
                <a:gd name="T55" fmla="*/ 1439 h 2048"/>
                <a:gd name="T56" fmla="*/ 882 w 1764"/>
                <a:gd name="T57" fmla="*/ 1280 h 2048"/>
                <a:gd name="T58" fmla="*/ 1019 w 1764"/>
                <a:gd name="T59" fmla="*/ 1481 h 2048"/>
                <a:gd name="T60" fmla="*/ 1373 w 1764"/>
                <a:gd name="T61" fmla="*/ 327 h 2048"/>
                <a:gd name="T62" fmla="*/ 882 w 1764"/>
                <a:gd name="T63" fmla="*/ 1186 h 2048"/>
                <a:gd name="T64" fmla="*/ 391 w 1764"/>
                <a:gd name="T65" fmla="*/ 327 h 2048"/>
                <a:gd name="T66" fmla="*/ 397 w 1764"/>
                <a:gd name="T67" fmla="*/ 95 h 2048"/>
                <a:gd name="T68" fmla="*/ 1373 w 1764"/>
                <a:gd name="T69" fmla="*/ 100 h 2048"/>
                <a:gd name="T70" fmla="*/ 1663 w 1764"/>
                <a:gd name="T71" fmla="*/ 301 h 2048"/>
                <a:gd name="T72" fmla="*/ 1468 w 1764"/>
                <a:gd name="T73" fmla="*/ 327 h 2048"/>
                <a:gd name="T74" fmla="*/ 1611 w 1764"/>
                <a:gd name="T75" fmla="*/ 240 h 2048"/>
                <a:gd name="T76" fmla="*/ 1663 w 1764"/>
                <a:gd name="T77" fmla="*/ 301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64" h="2048">
                  <a:moveTo>
                    <a:pt x="1724" y="197"/>
                  </a:moveTo>
                  <a:cubicBezTo>
                    <a:pt x="1696" y="164"/>
                    <a:pt x="1654" y="145"/>
                    <a:pt x="1611" y="145"/>
                  </a:cubicBezTo>
                  <a:cubicBezTo>
                    <a:pt x="1468" y="145"/>
                    <a:pt x="1468" y="145"/>
                    <a:pt x="1468" y="145"/>
                  </a:cubicBezTo>
                  <a:cubicBezTo>
                    <a:pt x="1468" y="100"/>
                    <a:pt x="1468" y="100"/>
                    <a:pt x="1468" y="100"/>
                  </a:cubicBezTo>
                  <a:cubicBezTo>
                    <a:pt x="1468" y="45"/>
                    <a:pt x="1423" y="0"/>
                    <a:pt x="1367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41" y="0"/>
                    <a:pt x="296" y="45"/>
                    <a:pt x="296" y="100"/>
                  </a:cubicBezTo>
                  <a:cubicBezTo>
                    <a:pt x="296" y="145"/>
                    <a:pt x="296" y="145"/>
                    <a:pt x="296" y="145"/>
                  </a:cubicBezTo>
                  <a:cubicBezTo>
                    <a:pt x="153" y="145"/>
                    <a:pt x="153" y="145"/>
                    <a:pt x="153" y="145"/>
                  </a:cubicBezTo>
                  <a:cubicBezTo>
                    <a:pt x="110" y="145"/>
                    <a:pt x="68" y="164"/>
                    <a:pt x="40" y="197"/>
                  </a:cubicBezTo>
                  <a:cubicBezTo>
                    <a:pt x="12" y="230"/>
                    <a:pt x="0" y="274"/>
                    <a:pt x="7" y="316"/>
                  </a:cubicBezTo>
                  <a:cubicBezTo>
                    <a:pt x="45" y="547"/>
                    <a:pt x="190" y="751"/>
                    <a:pt x="397" y="863"/>
                  </a:cubicBezTo>
                  <a:cubicBezTo>
                    <a:pt x="416" y="909"/>
                    <a:pt x="437" y="952"/>
                    <a:pt x="461" y="992"/>
                  </a:cubicBezTo>
                  <a:cubicBezTo>
                    <a:pt x="537" y="1120"/>
                    <a:pt x="631" y="1208"/>
                    <a:pt x="735" y="1251"/>
                  </a:cubicBezTo>
                  <a:cubicBezTo>
                    <a:pt x="746" y="1357"/>
                    <a:pt x="675" y="1458"/>
                    <a:pt x="568" y="1482"/>
                  </a:cubicBezTo>
                  <a:cubicBezTo>
                    <a:pt x="568" y="1483"/>
                    <a:pt x="568" y="1483"/>
                    <a:pt x="567" y="1483"/>
                  </a:cubicBezTo>
                  <a:cubicBezTo>
                    <a:pt x="547" y="1488"/>
                    <a:pt x="531" y="1506"/>
                    <a:pt x="531" y="1529"/>
                  </a:cubicBezTo>
                  <a:cubicBezTo>
                    <a:pt x="531" y="1746"/>
                    <a:pt x="531" y="1746"/>
                    <a:pt x="531" y="1746"/>
                  </a:cubicBezTo>
                  <a:cubicBezTo>
                    <a:pt x="443" y="1746"/>
                    <a:pt x="443" y="1746"/>
                    <a:pt x="443" y="1746"/>
                  </a:cubicBezTo>
                  <a:cubicBezTo>
                    <a:pt x="365" y="1746"/>
                    <a:pt x="301" y="1810"/>
                    <a:pt x="301" y="1888"/>
                  </a:cubicBezTo>
                  <a:cubicBezTo>
                    <a:pt x="301" y="2001"/>
                    <a:pt x="301" y="2001"/>
                    <a:pt x="301" y="2001"/>
                  </a:cubicBezTo>
                  <a:cubicBezTo>
                    <a:pt x="301" y="2027"/>
                    <a:pt x="322" y="2048"/>
                    <a:pt x="348" y="2048"/>
                  </a:cubicBezTo>
                  <a:cubicBezTo>
                    <a:pt x="1420" y="2048"/>
                    <a:pt x="1420" y="2048"/>
                    <a:pt x="1420" y="2048"/>
                  </a:cubicBezTo>
                  <a:cubicBezTo>
                    <a:pt x="1446" y="2048"/>
                    <a:pt x="1468" y="2027"/>
                    <a:pt x="1468" y="2001"/>
                  </a:cubicBezTo>
                  <a:cubicBezTo>
                    <a:pt x="1468" y="1888"/>
                    <a:pt x="1468" y="1888"/>
                    <a:pt x="1468" y="1888"/>
                  </a:cubicBezTo>
                  <a:cubicBezTo>
                    <a:pt x="1468" y="1810"/>
                    <a:pt x="1404" y="1746"/>
                    <a:pt x="1325" y="1746"/>
                  </a:cubicBezTo>
                  <a:cubicBezTo>
                    <a:pt x="1237" y="1746"/>
                    <a:pt x="1237" y="1746"/>
                    <a:pt x="1237" y="1746"/>
                  </a:cubicBezTo>
                  <a:cubicBezTo>
                    <a:pt x="1237" y="1529"/>
                    <a:pt x="1237" y="1529"/>
                    <a:pt x="1237" y="1529"/>
                  </a:cubicBezTo>
                  <a:cubicBezTo>
                    <a:pt x="1237" y="1506"/>
                    <a:pt x="1222" y="1488"/>
                    <a:pt x="1201" y="1483"/>
                  </a:cubicBezTo>
                  <a:cubicBezTo>
                    <a:pt x="1201" y="1483"/>
                    <a:pt x="1201" y="1483"/>
                    <a:pt x="1200" y="1482"/>
                  </a:cubicBezTo>
                  <a:cubicBezTo>
                    <a:pt x="1093" y="1458"/>
                    <a:pt x="1022" y="1356"/>
                    <a:pt x="1033" y="1249"/>
                  </a:cubicBezTo>
                  <a:cubicBezTo>
                    <a:pt x="1136" y="1205"/>
                    <a:pt x="1228" y="1118"/>
                    <a:pt x="1303" y="992"/>
                  </a:cubicBezTo>
                  <a:cubicBezTo>
                    <a:pt x="1327" y="952"/>
                    <a:pt x="1349" y="909"/>
                    <a:pt x="1367" y="863"/>
                  </a:cubicBezTo>
                  <a:cubicBezTo>
                    <a:pt x="1574" y="751"/>
                    <a:pt x="1719" y="547"/>
                    <a:pt x="1757" y="316"/>
                  </a:cubicBezTo>
                  <a:cubicBezTo>
                    <a:pt x="1764" y="274"/>
                    <a:pt x="1752" y="230"/>
                    <a:pt x="1724" y="197"/>
                  </a:cubicBezTo>
                  <a:close/>
                  <a:moveTo>
                    <a:pt x="101" y="301"/>
                  </a:moveTo>
                  <a:cubicBezTo>
                    <a:pt x="98" y="286"/>
                    <a:pt x="102" y="271"/>
                    <a:pt x="112" y="259"/>
                  </a:cubicBezTo>
                  <a:cubicBezTo>
                    <a:pt x="123" y="247"/>
                    <a:pt x="138" y="240"/>
                    <a:pt x="153" y="240"/>
                  </a:cubicBezTo>
                  <a:cubicBezTo>
                    <a:pt x="296" y="240"/>
                    <a:pt x="296" y="240"/>
                    <a:pt x="296" y="240"/>
                  </a:cubicBezTo>
                  <a:cubicBezTo>
                    <a:pt x="296" y="327"/>
                    <a:pt x="296" y="327"/>
                    <a:pt x="296" y="327"/>
                  </a:cubicBezTo>
                  <a:cubicBezTo>
                    <a:pt x="296" y="464"/>
                    <a:pt x="314" y="596"/>
                    <a:pt x="347" y="718"/>
                  </a:cubicBezTo>
                  <a:cubicBezTo>
                    <a:pt x="217" y="615"/>
                    <a:pt x="127" y="466"/>
                    <a:pt x="101" y="301"/>
                  </a:cubicBezTo>
                  <a:close/>
                  <a:moveTo>
                    <a:pt x="1325" y="1841"/>
                  </a:moveTo>
                  <a:cubicBezTo>
                    <a:pt x="1352" y="1841"/>
                    <a:pt x="1373" y="1862"/>
                    <a:pt x="1373" y="1888"/>
                  </a:cubicBezTo>
                  <a:cubicBezTo>
                    <a:pt x="1373" y="1953"/>
                    <a:pt x="1373" y="1953"/>
                    <a:pt x="1373" y="1953"/>
                  </a:cubicBezTo>
                  <a:cubicBezTo>
                    <a:pt x="396" y="1953"/>
                    <a:pt x="396" y="1953"/>
                    <a:pt x="396" y="1953"/>
                  </a:cubicBezTo>
                  <a:cubicBezTo>
                    <a:pt x="396" y="1888"/>
                    <a:pt x="396" y="1888"/>
                    <a:pt x="396" y="1888"/>
                  </a:cubicBezTo>
                  <a:cubicBezTo>
                    <a:pt x="396" y="1862"/>
                    <a:pt x="417" y="1841"/>
                    <a:pt x="443" y="1841"/>
                  </a:cubicBezTo>
                  <a:lnTo>
                    <a:pt x="1325" y="1841"/>
                  </a:lnTo>
                  <a:close/>
                  <a:moveTo>
                    <a:pt x="1143" y="1576"/>
                  </a:moveTo>
                  <a:cubicBezTo>
                    <a:pt x="1143" y="1746"/>
                    <a:pt x="1143" y="1746"/>
                    <a:pt x="1143" y="1746"/>
                  </a:cubicBezTo>
                  <a:cubicBezTo>
                    <a:pt x="626" y="1746"/>
                    <a:pt x="626" y="1746"/>
                    <a:pt x="626" y="1746"/>
                  </a:cubicBezTo>
                  <a:cubicBezTo>
                    <a:pt x="626" y="1576"/>
                    <a:pt x="626" y="1576"/>
                    <a:pt x="626" y="1576"/>
                  </a:cubicBezTo>
                  <a:lnTo>
                    <a:pt x="1143" y="1576"/>
                  </a:lnTo>
                  <a:close/>
                  <a:moveTo>
                    <a:pt x="750" y="1481"/>
                  </a:moveTo>
                  <a:cubicBezTo>
                    <a:pt x="762" y="1468"/>
                    <a:pt x="773" y="1454"/>
                    <a:pt x="782" y="1439"/>
                  </a:cubicBezTo>
                  <a:cubicBezTo>
                    <a:pt x="814" y="1390"/>
                    <a:pt x="830" y="1334"/>
                    <a:pt x="831" y="1277"/>
                  </a:cubicBezTo>
                  <a:cubicBezTo>
                    <a:pt x="848" y="1279"/>
                    <a:pt x="865" y="1280"/>
                    <a:pt x="882" y="1280"/>
                  </a:cubicBezTo>
                  <a:cubicBezTo>
                    <a:pt x="901" y="1280"/>
                    <a:pt x="919" y="1279"/>
                    <a:pt x="937" y="1276"/>
                  </a:cubicBezTo>
                  <a:cubicBezTo>
                    <a:pt x="939" y="1353"/>
                    <a:pt x="968" y="1426"/>
                    <a:pt x="1019" y="1481"/>
                  </a:cubicBezTo>
                  <a:cubicBezTo>
                    <a:pt x="750" y="1481"/>
                    <a:pt x="750" y="1481"/>
                    <a:pt x="750" y="1481"/>
                  </a:cubicBezTo>
                  <a:close/>
                  <a:moveTo>
                    <a:pt x="1373" y="327"/>
                  </a:moveTo>
                  <a:cubicBezTo>
                    <a:pt x="1373" y="561"/>
                    <a:pt x="1319" y="780"/>
                    <a:pt x="1222" y="943"/>
                  </a:cubicBezTo>
                  <a:cubicBezTo>
                    <a:pt x="1129" y="1100"/>
                    <a:pt x="1008" y="1186"/>
                    <a:pt x="882" y="1186"/>
                  </a:cubicBezTo>
                  <a:cubicBezTo>
                    <a:pt x="756" y="1186"/>
                    <a:pt x="635" y="1100"/>
                    <a:pt x="542" y="943"/>
                  </a:cubicBezTo>
                  <a:cubicBezTo>
                    <a:pt x="445" y="780"/>
                    <a:pt x="391" y="561"/>
                    <a:pt x="391" y="327"/>
                  </a:cubicBezTo>
                  <a:cubicBezTo>
                    <a:pt x="391" y="100"/>
                    <a:pt x="391" y="100"/>
                    <a:pt x="391" y="100"/>
                  </a:cubicBezTo>
                  <a:cubicBezTo>
                    <a:pt x="391" y="97"/>
                    <a:pt x="394" y="95"/>
                    <a:pt x="397" y="95"/>
                  </a:cubicBezTo>
                  <a:cubicBezTo>
                    <a:pt x="1367" y="95"/>
                    <a:pt x="1367" y="95"/>
                    <a:pt x="1367" y="95"/>
                  </a:cubicBezTo>
                  <a:cubicBezTo>
                    <a:pt x="1370" y="95"/>
                    <a:pt x="1373" y="97"/>
                    <a:pt x="1373" y="100"/>
                  </a:cubicBezTo>
                  <a:lnTo>
                    <a:pt x="1373" y="327"/>
                  </a:lnTo>
                  <a:close/>
                  <a:moveTo>
                    <a:pt x="1663" y="301"/>
                  </a:moveTo>
                  <a:cubicBezTo>
                    <a:pt x="1637" y="466"/>
                    <a:pt x="1547" y="615"/>
                    <a:pt x="1417" y="718"/>
                  </a:cubicBezTo>
                  <a:cubicBezTo>
                    <a:pt x="1450" y="596"/>
                    <a:pt x="1468" y="464"/>
                    <a:pt x="1468" y="327"/>
                  </a:cubicBezTo>
                  <a:cubicBezTo>
                    <a:pt x="1468" y="240"/>
                    <a:pt x="1468" y="240"/>
                    <a:pt x="1468" y="240"/>
                  </a:cubicBezTo>
                  <a:cubicBezTo>
                    <a:pt x="1611" y="240"/>
                    <a:pt x="1611" y="240"/>
                    <a:pt x="1611" y="240"/>
                  </a:cubicBezTo>
                  <a:cubicBezTo>
                    <a:pt x="1626" y="240"/>
                    <a:pt x="1641" y="247"/>
                    <a:pt x="1652" y="259"/>
                  </a:cubicBezTo>
                  <a:cubicBezTo>
                    <a:pt x="1662" y="271"/>
                    <a:pt x="1666" y="286"/>
                    <a:pt x="1663" y="3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-795744" y="2462202"/>
              <a:ext cx="1090612" cy="1039809"/>
            </a:xfrm>
            <a:custGeom>
              <a:avLst/>
              <a:gdLst>
                <a:gd name="T0" fmla="*/ 581 w 586"/>
                <a:gd name="T1" fmla="*/ 209 h 559"/>
                <a:gd name="T2" fmla="*/ 543 w 586"/>
                <a:gd name="T3" fmla="*/ 176 h 559"/>
                <a:gd name="T4" fmla="*/ 399 w 586"/>
                <a:gd name="T5" fmla="*/ 156 h 559"/>
                <a:gd name="T6" fmla="*/ 336 w 586"/>
                <a:gd name="T7" fmla="*/ 26 h 559"/>
                <a:gd name="T8" fmla="*/ 293 w 586"/>
                <a:gd name="T9" fmla="*/ 0 h 559"/>
                <a:gd name="T10" fmla="*/ 250 w 586"/>
                <a:gd name="T11" fmla="*/ 26 h 559"/>
                <a:gd name="T12" fmla="*/ 187 w 586"/>
                <a:gd name="T13" fmla="*/ 156 h 559"/>
                <a:gd name="T14" fmla="*/ 44 w 586"/>
                <a:gd name="T15" fmla="*/ 176 h 559"/>
                <a:gd name="T16" fmla="*/ 5 w 586"/>
                <a:gd name="T17" fmla="*/ 209 h 559"/>
                <a:gd name="T18" fmla="*/ 17 w 586"/>
                <a:gd name="T19" fmla="*/ 257 h 559"/>
                <a:gd name="T20" fmla="*/ 121 w 586"/>
                <a:gd name="T21" fmla="*/ 358 h 559"/>
                <a:gd name="T22" fmla="*/ 96 w 586"/>
                <a:gd name="T23" fmla="*/ 501 h 559"/>
                <a:gd name="T24" fmla="*/ 115 w 586"/>
                <a:gd name="T25" fmla="*/ 547 h 559"/>
                <a:gd name="T26" fmla="*/ 165 w 586"/>
                <a:gd name="T27" fmla="*/ 551 h 559"/>
                <a:gd name="T28" fmla="*/ 293 w 586"/>
                <a:gd name="T29" fmla="*/ 483 h 559"/>
                <a:gd name="T30" fmla="*/ 421 w 586"/>
                <a:gd name="T31" fmla="*/ 551 h 559"/>
                <a:gd name="T32" fmla="*/ 443 w 586"/>
                <a:gd name="T33" fmla="*/ 556 h 559"/>
                <a:gd name="T34" fmla="*/ 471 w 586"/>
                <a:gd name="T35" fmla="*/ 547 h 559"/>
                <a:gd name="T36" fmla="*/ 490 w 586"/>
                <a:gd name="T37" fmla="*/ 501 h 559"/>
                <a:gd name="T38" fmla="*/ 465 w 586"/>
                <a:gd name="T39" fmla="*/ 358 h 559"/>
                <a:gd name="T40" fmla="*/ 569 w 586"/>
                <a:gd name="T41" fmla="*/ 257 h 559"/>
                <a:gd name="T42" fmla="*/ 581 w 586"/>
                <a:gd name="T43" fmla="*/ 209 h 559"/>
                <a:gd name="T44" fmla="*/ 381 w 586"/>
                <a:gd name="T45" fmla="*/ 308 h 559"/>
                <a:gd name="T46" fmla="*/ 368 w 586"/>
                <a:gd name="T47" fmla="*/ 350 h 559"/>
                <a:gd name="T48" fmla="*/ 380 w 586"/>
                <a:gd name="T49" fmla="*/ 422 h 559"/>
                <a:gd name="T50" fmla="*/ 315 w 586"/>
                <a:gd name="T51" fmla="*/ 388 h 559"/>
                <a:gd name="T52" fmla="*/ 293 w 586"/>
                <a:gd name="T53" fmla="*/ 382 h 559"/>
                <a:gd name="T54" fmla="*/ 271 w 586"/>
                <a:gd name="T55" fmla="*/ 388 h 559"/>
                <a:gd name="T56" fmla="*/ 206 w 586"/>
                <a:gd name="T57" fmla="*/ 422 h 559"/>
                <a:gd name="T58" fmla="*/ 218 w 586"/>
                <a:gd name="T59" fmla="*/ 350 h 559"/>
                <a:gd name="T60" fmla="*/ 205 w 586"/>
                <a:gd name="T61" fmla="*/ 308 h 559"/>
                <a:gd name="T62" fmla="*/ 152 w 586"/>
                <a:gd name="T63" fmla="*/ 256 h 559"/>
                <a:gd name="T64" fmla="*/ 225 w 586"/>
                <a:gd name="T65" fmla="*/ 246 h 559"/>
                <a:gd name="T66" fmla="*/ 261 w 586"/>
                <a:gd name="T67" fmla="*/ 220 h 559"/>
                <a:gd name="T68" fmla="*/ 293 w 586"/>
                <a:gd name="T69" fmla="*/ 154 h 559"/>
                <a:gd name="T70" fmla="*/ 325 w 586"/>
                <a:gd name="T71" fmla="*/ 220 h 559"/>
                <a:gd name="T72" fmla="*/ 361 w 586"/>
                <a:gd name="T73" fmla="*/ 246 h 559"/>
                <a:gd name="T74" fmla="*/ 434 w 586"/>
                <a:gd name="T75" fmla="*/ 256 h 559"/>
                <a:gd name="T76" fmla="*/ 381 w 586"/>
                <a:gd name="T77" fmla="*/ 308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6" h="559">
                  <a:moveTo>
                    <a:pt x="581" y="209"/>
                  </a:moveTo>
                  <a:cubicBezTo>
                    <a:pt x="575" y="191"/>
                    <a:pt x="560" y="179"/>
                    <a:pt x="543" y="176"/>
                  </a:cubicBezTo>
                  <a:cubicBezTo>
                    <a:pt x="399" y="156"/>
                    <a:pt x="399" y="156"/>
                    <a:pt x="399" y="156"/>
                  </a:cubicBezTo>
                  <a:cubicBezTo>
                    <a:pt x="336" y="26"/>
                    <a:pt x="336" y="26"/>
                    <a:pt x="336" y="26"/>
                  </a:cubicBezTo>
                  <a:cubicBezTo>
                    <a:pt x="328" y="10"/>
                    <a:pt x="311" y="0"/>
                    <a:pt x="293" y="0"/>
                  </a:cubicBezTo>
                  <a:cubicBezTo>
                    <a:pt x="275" y="0"/>
                    <a:pt x="258" y="10"/>
                    <a:pt x="250" y="26"/>
                  </a:cubicBezTo>
                  <a:cubicBezTo>
                    <a:pt x="187" y="156"/>
                    <a:pt x="187" y="156"/>
                    <a:pt x="187" y="156"/>
                  </a:cubicBezTo>
                  <a:cubicBezTo>
                    <a:pt x="44" y="176"/>
                    <a:pt x="44" y="176"/>
                    <a:pt x="44" y="176"/>
                  </a:cubicBezTo>
                  <a:cubicBezTo>
                    <a:pt x="26" y="179"/>
                    <a:pt x="11" y="191"/>
                    <a:pt x="5" y="209"/>
                  </a:cubicBezTo>
                  <a:cubicBezTo>
                    <a:pt x="0" y="226"/>
                    <a:pt x="4" y="245"/>
                    <a:pt x="17" y="257"/>
                  </a:cubicBezTo>
                  <a:cubicBezTo>
                    <a:pt x="121" y="358"/>
                    <a:pt x="121" y="358"/>
                    <a:pt x="121" y="358"/>
                  </a:cubicBezTo>
                  <a:cubicBezTo>
                    <a:pt x="96" y="501"/>
                    <a:pt x="96" y="501"/>
                    <a:pt x="96" y="501"/>
                  </a:cubicBezTo>
                  <a:cubicBezTo>
                    <a:pt x="93" y="518"/>
                    <a:pt x="101" y="536"/>
                    <a:pt x="115" y="547"/>
                  </a:cubicBezTo>
                  <a:cubicBezTo>
                    <a:pt x="130" y="558"/>
                    <a:pt x="149" y="559"/>
                    <a:pt x="165" y="551"/>
                  </a:cubicBezTo>
                  <a:cubicBezTo>
                    <a:pt x="293" y="483"/>
                    <a:pt x="293" y="483"/>
                    <a:pt x="293" y="483"/>
                  </a:cubicBezTo>
                  <a:cubicBezTo>
                    <a:pt x="421" y="551"/>
                    <a:pt x="421" y="551"/>
                    <a:pt x="421" y="551"/>
                  </a:cubicBezTo>
                  <a:cubicBezTo>
                    <a:pt x="428" y="554"/>
                    <a:pt x="435" y="556"/>
                    <a:pt x="443" y="556"/>
                  </a:cubicBezTo>
                  <a:cubicBezTo>
                    <a:pt x="453" y="556"/>
                    <a:pt x="463" y="553"/>
                    <a:pt x="471" y="547"/>
                  </a:cubicBezTo>
                  <a:cubicBezTo>
                    <a:pt x="485" y="536"/>
                    <a:pt x="493" y="518"/>
                    <a:pt x="490" y="501"/>
                  </a:cubicBezTo>
                  <a:cubicBezTo>
                    <a:pt x="465" y="358"/>
                    <a:pt x="465" y="358"/>
                    <a:pt x="465" y="358"/>
                  </a:cubicBezTo>
                  <a:cubicBezTo>
                    <a:pt x="569" y="257"/>
                    <a:pt x="569" y="257"/>
                    <a:pt x="569" y="257"/>
                  </a:cubicBezTo>
                  <a:cubicBezTo>
                    <a:pt x="582" y="245"/>
                    <a:pt x="586" y="226"/>
                    <a:pt x="581" y="209"/>
                  </a:cubicBezTo>
                  <a:close/>
                  <a:moveTo>
                    <a:pt x="381" y="308"/>
                  </a:moveTo>
                  <a:cubicBezTo>
                    <a:pt x="370" y="319"/>
                    <a:pt x="365" y="334"/>
                    <a:pt x="368" y="350"/>
                  </a:cubicBezTo>
                  <a:cubicBezTo>
                    <a:pt x="380" y="422"/>
                    <a:pt x="380" y="422"/>
                    <a:pt x="380" y="422"/>
                  </a:cubicBezTo>
                  <a:cubicBezTo>
                    <a:pt x="315" y="388"/>
                    <a:pt x="315" y="388"/>
                    <a:pt x="315" y="388"/>
                  </a:cubicBezTo>
                  <a:cubicBezTo>
                    <a:pt x="308" y="384"/>
                    <a:pt x="301" y="382"/>
                    <a:pt x="293" y="382"/>
                  </a:cubicBezTo>
                  <a:cubicBezTo>
                    <a:pt x="285" y="382"/>
                    <a:pt x="278" y="384"/>
                    <a:pt x="271" y="388"/>
                  </a:cubicBezTo>
                  <a:cubicBezTo>
                    <a:pt x="206" y="422"/>
                    <a:pt x="206" y="422"/>
                    <a:pt x="206" y="422"/>
                  </a:cubicBezTo>
                  <a:cubicBezTo>
                    <a:pt x="218" y="350"/>
                    <a:pt x="218" y="350"/>
                    <a:pt x="218" y="350"/>
                  </a:cubicBezTo>
                  <a:cubicBezTo>
                    <a:pt x="221" y="334"/>
                    <a:pt x="216" y="319"/>
                    <a:pt x="205" y="308"/>
                  </a:cubicBezTo>
                  <a:cubicBezTo>
                    <a:pt x="152" y="256"/>
                    <a:pt x="152" y="256"/>
                    <a:pt x="152" y="256"/>
                  </a:cubicBezTo>
                  <a:cubicBezTo>
                    <a:pt x="225" y="246"/>
                    <a:pt x="225" y="246"/>
                    <a:pt x="225" y="246"/>
                  </a:cubicBezTo>
                  <a:cubicBezTo>
                    <a:pt x="240" y="244"/>
                    <a:pt x="254" y="234"/>
                    <a:pt x="261" y="220"/>
                  </a:cubicBezTo>
                  <a:cubicBezTo>
                    <a:pt x="293" y="154"/>
                    <a:pt x="293" y="154"/>
                    <a:pt x="293" y="154"/>
                  </a:cubicBezTo>
                  <a:cubicBezTo>
                    <a:pt x="325" y="220"/>
                    <a:pt x="325" y="220"/>
                    <a:pt x="325" y="220"/>
                  </a:cubicBezTo>
                  <a:cubicBezTo>
                    <a:pt x="332" y="234"/>
                    <a:pt x="346" y="244"/>
                    <a:pt x="361" y="246"/>
                  </a:cubicBezTo>
                  <a:cubicBezTo>
                    <a:pt x="434" y="256"/>
                    <a:pt x="434" y="256"/>
                    <a:pt x="434" y="256"/>
                  </a:cubicBezTo>
                  <a:lnTo>
                    <a:pt x="381" y="30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29" name="Straight Connector 28"/>
          <p:cNvCxnSpPr/>
          <p:nvPr/>
        </p:nvCxnSpPr>
        <p:spPr>
          <a:xfrm>
            <a:off x="1568345" y="2679815"/>
            <a:ext cx="0" cy="705734"/>
          </a:xfrm>
          <a:prstGeom prst="line">
            <a:avLst/>
          </a:prstGeom>
          <a:ln w="19050">
            <a:solidFill>
              <a:srgbClr val="3035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/>
          <p:cNvSpPr/>
          <p:nvPr/>
        </p:nvSpPr>
        <p:spPr>
          <a:xfrm>
            <a:off x="1234076" y="3093956"/>
            <a:ext cx="630400" cy="63039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837523" y="3751611"/>
            <a:ext cx="1704459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rgbClr val="30353F"/>
                </a:solidFill>
              </a:rPr>
              <a:t>Provide  </a:t>
            </a:r>
            <a:r>
              <a:rPr lang="en-US" sz="3200" b="1" dirty="0">
                <a:solidFill>
                  <a:schemeClr val="accent4">
                    <a:lumMod val="75000"/>
                  </a:schemeClr>
                </a:solidFill>
              </a:rPr>
              <a:t>SENSORS</a:t>
            </a:r>
          </a:p>
        </p:txBody>
      </p:sp>
      <p:cxnSp>
        <p:nvCxnSpPr>
          <p:cNvPr id="66" name="Straight Connector 65"/>
          <p:cNvCxnSpPr/>
          <p:nvPr/>
        </p:nvCxnSpPr>
        <p:spPr>
          <a:xfrm>
            <a:off x="4989131" y="3789843"/>
            <a:ext cx="0" cy="705734"/>
          </a:xfrm>
          <a:prstGeom prst="line">
            <a:avLst/>
          </a:prstGeom>
          <a:ln w="19050">
            <a:solidFill>
              <a:srgbClr val="6671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3509847" y="4905756"/>
            <a:ext cx="295856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larm for the risky areas</a:t>
            </a:r>
          </a:p>
          <a:p>
            <a:pPr algn="ctr"/>
            <a:endParaRPr lang="en-US" sz="1400" dirty="0">
              <a:solidFill>
                <a:srgbClr val="30353F"/>
              </a:solidFill>
            </a:endParaRPr>
          </a:p>
        </p:txBody>
      </p:sp>
      <p:sp>
        <p:nvSpPr>
          <p:cNvPr id="60" name="Oval 59"/>
          <p:cNvSpPr/>
          <p:nvPr/>
        </p:nvSpPr>
        <p:spPr>
          <a:xfrm>
            <a:off x="4673932" y="3140192"/>
            <a:ext cx="630400" cy="63039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3358335" y="4567202"/>
            <a:ext cx="3549883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alories and steps Calculating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4002844" y="1999503"/>
            <a:ext cx="2109300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Develop</a:t>
            </a:r>
            <a:r>
              <a:rPr lang="en-US" sz="3000" b="1" dirty="0">
                <a:solidFill>
                  <a:srgbClr val="667181"/>
                </a:solidFill>
              </a:rPr>
              <a:t> </a:t>
            </a:r>
            <a:r>
              <a:rPr lang="en-US" sz="3200" b="1" dirty="0">
                <a:solidFill>
                  <a:schemeClr val="accent4">
                    <a:lumMod val="75000"/>
                  </a:schemeClr>
                </a:solidFill>
              </a:rPr>
              <a:t>PROGRAMS</a:t>
            </a:r>
          </a:p>
        </p:txBody>
      </p:sp>
      <p:cxnSp>
        <p:nvCxnSpPr>
          <p:cNvPr id="65" name="Straight Connector 64"/>
          <p:cNvCxnSpPr/>
          <p:nvPr/>
        </p:nvCxnSpPr>
        <p:spPr>
          <a:xfrm>
            <a:off x="8014346" y="2581920"/>
            <a:ext cx="0" cy="705734"/>
          </a:xfrm>
          <a:prstGeom prst="line">
            <a:avLst/>
          </a:prstGeom>
          <a:ln w="19050">
            <a:solidFill>
              <a:srgbClr val="98A3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7699146" y="3159445"/>
            <a:ext cx="630400" cy="630398"/>
          </a:xfrm>
          <a:prstGeom prst="ellipse">
            <a:avLst/>
          </a:prstGeom>
          <a:solidFill>
            <a:srgbClr val="98A3AD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6497929" y="2064386"/>
            <a:ext cx="303283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xpand online marketing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957571" y="3820772"/>
            <a:ext cx="2173672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4">
                    <a:lumMod val="75000"/>
                  </a:schemeClr>
                </a:solidFill>
              </a:rPr>
              <a:t>MARKETING</a:t>
            </a:r>
          </a:p>
          <a:p>
            <a:pPr algn="ctr"/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b="1" dirty="0"/>
              <a:t>strategies 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81000" y="6345823"/>
            <a:ext cx="400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rgbClr val="30353F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pic>
        <p:nvPicPr>
          <p:cNvPr id="46" name="Graphic 45" descr="Cell Tower with solid fill">
            <a:extLst>
              <a:ext uri="{FF2B5EF4-FFF2-40B4-BE49-F238E27FC236}">
                <a16:creationId xmlns:a16="http://schemas.microsoft.com/office/drawing/2014/main" id="{BB4117A7-EC40-4508-8DC7-81319B73B8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25838" y="3184075"/>
            <a:ext cx="440294" cy="440294"/>
          </a:xfrm>
          <a:prstGeom prst="rect">
            <a:avLst/>
          </a:prstGeom>
        </p:spPr>
      </p:pic>
      <p:pic>
        <p:nvPicPr>
          <p:cNvPr id="3" name="Graphic 2" descr="Cmd Terminal outline">
            <a:extLst>
              <a:ext uri="{FF2B5EF4-FFF2-40B4-BE49-F238E27FC236}">
                <a16:creationId xmlns:a16="http://schemas.microsoft.com/office/drawing/2014/main" id="{A1C9A5C7-57A6-4868-A4FD-BD5C2345E0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9235" y="3235695"/>
            <a:ext cx="419793" cy="419793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A6C3615C-5952-46C0-843A-753C9E599F5B}"/>
              </a:ext>
            </a:extLst>
          </p:cNvPr>
          <p:cNvSpPr txBox="1"/>
          <p:nvPr/>
        </p:nvSpPr>
        <p:spPr>
          <a:xfrm>
            <a:off x="106532" y="1658590"/>
            <a:ext cx="301840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asurement of Heartrate, Blood Pressure and Oxygen level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EF6649-9B6B-4B7E-AA50-7C49081D02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12350" y="3259120"/>
            <a:ext cx="243861" cy="359695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BE22DFE-B890-4166-93D9-0CA933B8D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9797" y="75414"/>
            <a:ext cx="8576642" cy="1430262"/>
          </a:xfrm>
        </p:spPr>
        <p:txBody>
          <a:bodyPr>
            <a:normAutofit/>
          </a:bodyPr>
          <a:lstStyle/>
          <a:p>
            <a:pPr algn="l"/>
            <a:r>
              <a:rPr lang="de-DE" sz="4400" dirty="0">
                <a:solidFill>
                  <a:schemeClr val="accent4">
                    <a:lumMod val="75000"/>
                  </a:schemeClr>
                </a:solidFill>
              </a:rPr>
              <a:t>Recommended</a:t>
            </a:r>
            <a:r>
              <a:rPr lang="en-US" sz="44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 Actions</a:t>
            </a:r>
            <a:br>
              <a:rPr lang="en-US" sz="4400" dirty="0">
                <a:solidFill>
                  <a:schemeClr val="accent4">
                    <a:lumMod val="75000"/>
                  </a:schemeClr>
                </a:solidFill>
                <a:latin typeface="+mj-lt"/>
              </a:rPr>
            </a:br>
            <a:endParaRPr lang="en-US" sz="4400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956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47AAF-610B-4B14-8010-5827647D1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812" y="1055803"/>
            <a:ext cx="10364451" cy="4119512"/>
          </a:xfrm>
        </p:spPr>
        <p:txBody>
          <a:bodyPr>
            <a:normAutofit/>
          </a:bodyPr>
          <a:lstStyle/>
          <a:p>
            <a:r>
              <a:rPr lang="en-US" sz="11000" dirty="0">
                <a:solidFill>
                  <a:schemeClr val="accent4">
                    <a:lumMod val="50000"/>
                  </a:schemeClr>
                </a:solidFill>
              </a:rPr>
              <a:t>Thank You! </a:t>
            </a:r>
          </a:p>
        </p:txBody>
      </p:sp>
    </p:spTree>
    <p:extLst>
      <p:ext uri="{BB962C8B-B14F-4D97-AF65-F5344CB8AC3E}">
        <p14:creationId xmlns:p14="http://schemas.microsoft.com/office/powerpoint/2010/main" val="2215169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5[[fn=Droplet]]</Template>
  <TotalTime>1264</TotalTime>
  <Words>250</Words>
  <Application>Microsoft Office PowerPoint</Application>
  <PresentationFormat>Widescreen</PresentationFormat>
  <Paragraphs>44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Helvetica Neue</vt:lpstr>
      <vt:lpstr>Tw Cen MT</vt:lpstr>
      <vt:lpstr>Droplet</vt:lpstr>
      <vt:lpstr>Office Theme</vt:lpstr>
      <vt:lpstr>think-cell Slide</vt:lpstr>
      <vt:lpstr>Impact of Covid Data in mobility and  Wearable market</vt:lpstr>
      <vt:lpstr>Table of Contents</vt:lpstr>
      <vt:lpstr>Introduction</vt:lpstr>
      <vt:lpstr>Investigating the potential markets</vt:lpstr>
      <vt:lpstr>Results and Discussion</vt:lpstr>
      <vt:lpstr>PowerPoint Presentation</vt:lpstr>
      <vt:lpstr>PowerPoint Presentation</vt:lpstr>
      <vt:lpstr>Recommended Actions </vt:lpstr>
      <vt:lpstr>Thank You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admin</cp:lastModifiedBy>
  <cp:revision>55</cp:revision>
  <dcterms:created xsi:type="dcterms:W3CDTF">2021-06-23T16:20:17Z</dcterms:created>
  <dcterms:modified xsi:type="dcterms:W3CDTF">2021-08-10T09:01:55Z</dcterms:modified>
</cp:coreProperties>
</file>